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679" r:id="rId4"/>
  </p:sldMasterIdLst>
  <p:notesMasterIdLst>
    <p:notesMasterId r:id="rId87"/>
  </p:notesMasterIdLst>
  <p:handoutMasterIdLst>
    <p:handoutMasterId r:id="rId88"/>
  </p:handoutMasterIdLst>
  <p:sldIdLst>
    <p:sldId id="2147477909" r:id="rId5"/>
    <p:sldId id="2147483489" r:id="rId6"/>
    <p:sldId id="2147483445" r:id="rId7"/>
    <p:sldId id="2147483490" r:id="rId8"/>
    <p:sldId id="2147483522" r:id="rId9"/>
    <p:sldId id="2147483538" r:id="rId10"/>
    <p:sldId id="2147483523" r:id="rId11"/>
    <p:sldId id="2147483525" r:id="rId12"/>
    <p:sldId id="2147483526" r:id="rId13"/>
    <p:sldId id="2147483601" r:id="rId14"/>
    <p:sldId id="2147483528" r:id="rId15"/>
    <p:sldId id="2147483529" r:id="rId16"/>
    <p:sldId id="2147483602" r:id="rId17"/>
    <p:sldId id="2147483603" r:id="rId18"/>
    <p:sldId id="2147483530" r:id="rId19"/>
    <p:sldId id="2147483531" r:id="rId20"/>
    <p:sldId id="2147483532" r:id="rId21"/>
    <p:sldId id="2147483533" r:id="rId22"/>
    <p:sldId id="2147483534" r:id="rId23"/>
    <p:sldId id="2147483535" r:id="rId24"/>
    <p:sldId id="2147483536" r:id="rId25"/>
    <p:sldId id="2147483537" r:id="rId26"/>
    <p:sldId id="2147483558" r:id="rId27"/>
    <p:sldId id="2147483557" r:id="rId28"/>
    <p:sldId id="2147483559" r:id="rId29"/>
    <p:sldId id="2147483560" r:id="rId30"/>
    <p:sldId id="2147483561" r:id="rId31"/>
    <p:sldId id="2147483562" r:id="rId32"/>
    <p:sldId id="2147483556" r:id="rId33"/>
    <p:sldId id="2147483563" r:id="rId34"/>
    <p:sldId id="2147483564" r:id="rId35"/>
    <p:sldId id="2147483555" r:id="rId36"/>
    <p:sldId id="2147483565" r:id="rId37"/>
    <p:sldId id="2147483566" r:id="rId38"/>
    <p:sldId id="2147483540" r:id="rId39"/>
    <p:sldId id="2147483542" r:id="rId40"/>
    <p:sldId id="2147483544" r:id="rId41"/>
    <p:sldId id="2147483543" r:id="rId42"/>
    <p:sldId id="2147483545" r:id="rId43"/>
    <p:sldId id="2147483546" r:id="rId44"/>
    <p:sldId id="2147483547" r:id="rId45"/>
    <p:sldId id="2147483548" r:id="rId46"/>
    <p:sldId id="2147483549" r:id="rId47"/>
    <p:sldId id="2147483550" r:id="rId48"/>
    <p:sldId id="2147483551" r:id="rId49"/>
    <p:sldId id="2147483552" r:id="rId50"/>
    <p:sldId id="2147483553" r:id="rId51"/>
    <p:sldId id="2147483554" r:id="rId52"/>
    <p:sldId id="2147483571" r:id="rId53"/>
    <p:sldId id="2147483569" r:id="rId54"/>
    <p:sldId id="2147483570" r:id="rId55"/>
    <p:sldId id="2147483568" r:id="rId56"/>
    <p:sldId id="2147483572" r:id="rId57"/>
    <p:sldId id="2147483573" r:id="rId58"/>
    <p:sldId id="2147483574" r:id="rId59"/>
    <p:sldId id="2147483575" r:id="rId60"/>
    <p:sldId id="2147483576" r:id="rId61"/>
    <p:sldId id="2147483577" r:id="rId62"/>
    <p:sldId id="2147483578" r:id="rId63"/>
    <p:sldId id="2147483596" r:id="rId64"/>
    <p:sldId id="2147483597" r:id="rId65"/>
    <p:sldId id="2147483598" r:id="rId66"/>
    <p:sldId id="2147483599" r:id="rId67"/>
    <p:sldId id="2147483600" r:id="rId68"/>
    <p:sldId id="2147483579" r:id="rId69"/>
    <p:sldId id="2147483580" r:id="rId70"/>
    <p:sldId id="2147483581" r:id="rId71"/>
    <p:sldId id="2147483582" r:id="rId72"/>
    <p:sldId id="2147483583" r:id="rId73"/>
    <p:sldId id="2147483584" r:id="rId74"/>
    <p:sldId id="2147483585" r:id="rId75"/>
    <p:sldId id="2147483586" r:id="rId76"/>
    <p:sldId id="2147483587" r:id="rId77"/>
    <p:sldId id="2147483588" r:id="rId78"/>
    <p:sldId id="2147483589" r:id="rId79"/>
    <p:sldId id="2147483590" r:id="rId80"/>
    <p:sldId id="2147483591" r:id="rId81"/>
    <p:sldId id="2147483592" r:id="rId82"/>
    <p:sldId id="2147483593" r:id="rId83"/>
    <p:sldId id="2147483594" r:id="rId84"/>
    <p:sldId id="2147483595" r:id="rId85"/>
    <p:sldId id="2147483567" r:id="rId8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urview" id="{7593C3AB-83D1-4EA4-8289-D2C7D92A583A}">
          <p14:sldIdLst>
            <p14:sldId id="2147477909"/>
            <p14:sldId id="2147483489"/>
            <p14:sldId id="2147483445"/>
            <p14:sldId id="2147483490"/>
            <p14:sldId id="2147483522"/>
            <p14:sldId id="2147483538"/>
            <p14:sldId id="2147483523"/>
            <p14:sldId id="2147483525"/>
            <p14:sldId id="2147483526"/>
            <p14:sldId id="2147483601"/>
            <p14:sldId id="2147483528"/>
            <p14:sldId id="2147483529"/>
            <p14:sldId id="2147483602"/>
            <p14:sldId id="2147483603"/>
            <p14:sldId id="2147483530"/>
            <p14:sldId id="2147483531"/>
            <p14:sldId id="2147483532"/>
            <p14:sldId id="2147483533"/>
            <p14:sldId id="2147483534"/>
            <p14:sldId id="2147483535"/>
            <p14:sldId id="2147483536"/>
            <p14:sldId id="2147483537"/>
            <p14:sldId id="2147483558"/>
            <p14:sldId id="2147483557"/>
            <p14:sldId id="2147483559"/>
            <p14:sldId id="2147483560"/>
            <p14:sldId id="2147483561"/>
            <p14:sldId id="2147483562"/>
            <p14:sldId id="2147483556"/>
            <p14:sldId id="2147483563"/>
            <p14:sldId id="2147483564"/>
            <p14:sldId id="2147483555"/>
            <p14:sldId id="2147483565"/>
            <p14:sldId id="2147483566"/>
            <p14:sldId id="2147483540"/>
            <p14:sldId id="2147483542"/>
            <p14:sldId id="2147483544"/>
            <p14:sldId id="2147483543"/>
            <p14:sldId id="2147483545"/>
            <p14:sldId id="2147483546"/>
            <p14:sldId id="2147483547"/>
            <p14:sldId id="2147483548"/>
            <p14:sldId id="2147483549"/>
            <p14:sldId id="2147483550"/>
            <p14:sldId id="2147483551"/>
            <p14:sldId id="2147483552"/>
            <p14:sldId id="2147483553"/>
            <p14:sldId id="2147483554"/>
            <p14:sldId id="2147483571"/>
            <p14:sldId id="2147483569"/>
            <p14:sldId id="2147483570"/>
            <p14:sldId id="2147483568"/>
            <p14:sldId id="2147483572"/>
            <p14:sldId id="2147483573"/>
            <p14:sldId id="2147483574"/>
            <p14:sldId id="2147483575"/>
            <p14:sldId id="2147483576"/>
            <p14:sldId id="2147483577"/>
            <p14:sldId id="2147483578"/>
            <p14:sldId id="2147483596"/>
            <p14:sldId id="2147483597"/>
            <p14:sldId id="2147483598"/>
            <p14:sldId id="2147483599"/>
            <p14:sldId id="2147483600"/>
            <p14:sldId id="2147483579"/>
            <p14:sldId id="2147483580"/>
            <p14:sldId id="2147483581"/>
            <p14:sldId id="2147483582"/>
            <p14:sldId id="2147483583"/>
            <p14:sldId id="2147483584"/>
            <p14:sldId id="2147483585"/>
            <p14:sldId id="2147483586"/>
            <p14:sldId id="2147483587"/>
            <p14:sldId id="2147483588"/>
            <p14:sldId id="2147483589"/>
            <p14:sldId id="2147483590"/>
            <p14:sldId id="2147483591"/>
            <p14:sldId id="2147483592"/>
            <p14:sldId id="2147483593"/>
            <p14:sldId id="2147483594"/>
            <p14:sldId id="2147483595"/>
            <p14:sldId id="214748356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FB41745-652E-2147-2A4A-50176497E60F}" name="Keyuna Evans (CELA)" initials="K(" userId="S::keevans@microsoft.com::653310ed-6ca1-49d8-8b9c-3ff545fb456e" providerId="AD"/>
  <p188:author id="{4EF46D45-980D-9BDC-170B-86C0E967B25D}" name="Jermey Evans (CW)" initials="JE" userId="S::c-jermey.evans@unifyconsulting.com::cd66065b-8769-42d9-96d5-f84ec8f9f654" providerId="AD"/>
  <p188:author id="{B3D9D7A0-C492-EB33-E6B4-2EBF96925583}" name="Adi Regev" initials="AR" userId="S::adiregev@microsoft.com::13f43db5-1dcf-4dcb-b869-e14646c2a1b4" providerId="AD"/>
  <p188:author id="{7A6080A2-1382-B2F3-6F26-61C055460B22}" name="Cillian Mitchell" initials="CM" userId="S::cimitchell@microsoft.com::52ba4ba3-eafd-460a-98fa-bbd73a3d9c67" providerId="AD"/>
  <p188:author id="{43959FE5-22A0-F8C5-57E3-3E90ACBC26CE}" name="Ellie Lawler" initials="EL" userId="S::ellawler@microsoft.com::05e0f727-5dad-414b-96e1-113a11acf1b4" providerId="AD"/>
  <p188:author id="{251498F4-C808-92C1-FF8C-13AD461FA6B2}" name="Tonio Lora" initials="TL" userId="S::anlo@microsoft.com::03824593-714e-4d0e-bb47-efb9476dae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DF9"/>
    <a:srgbClr val="46BDAA"/>
    <a:srgbClr val="0078D4"/>
    <a:srgbClr val="FFF8F3"/>
    <a:srgbClr val="C03BC4"/>
    <a:srgbClr val="CDC7BB"/>
    <a:srgbClr val="49C5B1"/>
    <a:srgbClr val="A84C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ECC71B-D4D4-9446-965F-8865AE44C7B5}" v="43" dt="2026-01-13T09:58:53.659"/>
    <p1510:client id="{A74FAB7A-DC0D-2B40-8012-5B4568CF007E}" v="92" dt="2026-01-12T17:41:06.63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77"/>
    <p:restoredTop sz="95366" autoAdjust="0"/>
  </p:normalViewPr>
  <p:slideViewPr>
    <p:cSldViewPr snapToGrid="0">
      <p:cViewPr varScale="1">
        <p:scale>
          <a:sx n="154" d="100"/>
          <a:sy n="154" d="100"/>
        </p:scale>
        <p:origin x="208" y="8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slide" Target="slides/slide80.xml"/><Relationship Id="rId89" Type="http://schemas.openxmlformats.org/officeDocument/2006/relationships/presProps" Target="presProps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5" Type="http://schemas.openxmlformats.org/officeDocument/2006/relationships/slide" Target="slides/slide1.xml"/><Relationship Id="rId90" Type="http://schemas.openxmlformats.org/officeDocument/2006/relationships/viewProps" Target="viewProps.xml"/><Relationship Id="rId95" Type="http://schemas.microsoft.com/office/2018/10/relationships/authors" Target="authors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9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handoutMaster" Target="handoutMasters/handoutMaster1.xml"/><Relationship Id="rId9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9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tableStyles" Target="tableStyles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notesMaster" Target="notesMasters/notesMaster1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Cordtz" userId="b5e592fb-fc8b-4323-a97d-691438b2e2da" providerId="ADAL" clId="{4E22EDF5-2883-5D57-B9C7-04E66950367B}"/>
    <pc:docChg chg="custSel addSld modSld">
      <pc:chgData name="Jan Cordtz" userId="b5e592fb-fc8b-4323-a97d-691438b2e2da" providerId="ADAL" clId="{4E22EDF5-2883-5D57-B9C7-04E66950367B}" dt="2026-01-13T09:58:53.659" v="59"/>
      <pc:docMkLst>
        <pc:docMk/>
      </pc:docMkLst>
      <pc:sldChg chg="modSp mod">
        <pc:chgData name="Jan Cordtz" userId="b5e592fb-fc8b-4323-a97d-691438b2e2da" providerId="ADAL" clId="{4E22EDF5-2883-5D57-B9C7-04E66950367B}" dt="2026-01-13T07:17:37.411" v="18" actId="20577"/>
        <pc:sldMkLst>
          <pc:docMk/>
          <pc:sldMk cId="3886619284" sldId="2147477909"/>
        </pc:sldMkLst>
        <pc:spChg chg="mod">
          <ac:chgData name="Jan Cordtz" userId="b5e592fb-fc8b-4323-a97d-691438b2e2da" providerId="ADAL" clId="{4E22EDF5-2883-5D57-B9C7-04E66950367B}" dt="2026-01-13T07:17:37.411" v="18" actId="20577"/>
          <ac:spMkLst>
            <pc:docMk/>
            <pc:sldMk cId="3886619284" sldId="2147477909"/>
            <ac:spMk id="37" creationId="{40CB8A5C-7978-D6DF-6BCB-6AA6077897C3}"/>
          </ac:spMkLst>
        </pc:spChg>
      </pc:sldChg>
      <pc:sldChg chg="addSp modSp">
        <pc:chgData name="Jan Cordtz" userId="b5e592fb-fc8b-4323-a97d-691438b2e2da" providerId="ADAL" clId="{4E22EDF5-2883-5D57-B9C7-04E66950367B}" dt="2026-01-13T09:11:27.137" v="19"/>
        <pc:sldMkLst>
          <pc:docMk/>
          <pc:sldMk cId="793374601" sldId="2147483445"/>
        </pc:sldMkLst>
        <pc:spChg chg="add mod">
          <ac:chgData name="Jan Cordtz" userId="b5e592fb-fc8b-4323-a97d-691438b2e2da" providerId="ADAL" clId="{4E22EDF5-2883-5D57-B9C7-04E66950367B}" dt="2026-01-13T09:11:27.137" v="19"/>
          <ac:spMkLst>
            <pc:docMk/>
            <pc:sldMk cId="793374601" sldId="2147483445"/>
            <ac:spMk id="29" creationId="{368C9903-8D83-3C06-59F0-F4C2C8015D53}"/>
          </ac:spMkLst>
        </pc:spChg>
      </pc:sldChg>
      <pc:sldChg chg="addSp modSp">
        <pc:chgData name="Jan Cordtz" userId="b5e592fb-fc8b-4323-a97d-691438b2e2da" providerId="ADAL" clId="{4E22EDF5-2883-5D57-B9C7-04E66950367B}" dt="2026-01-13T09:26:32.177" v="30"/>
        <pc:sldMkLst>
          <pc:docMk/>
          <pc:sldMk cId="1532065344" sldId="2147483522"/>
        </pc:sldMkLst>
        <pc:spChg chg="add mod">
          <ac:chgData name="Jan Cordtz" userId="b5e592fb-fc8b-4323-a97d-691438b2e2da" providerId="ADAL" clId="{4E22EDF5-2883-5D57-B9C7-04E66950367B}" dt="2026-01-13T09:16:29.416" v="20"/>
          <ac:spMkLst>
            <pc:docMk/>
            <pc:sldMk cId="1532065344" sldId="2147483522"/>
            <ac:spMk id="2" creationId="{4FAFBF03-1226-9BF2-60D6-1AB245389B80}"/>
          </ac:spMkLst>
        </pc:spChg>
        <pc:spChg chg="add mod">
          <ac:chgData name="Jan Cordtz" userId="b5e592fb-fc8b-4323-a97d-691438b2e2da" providerId="ADAL" clId="{4E22EDF5-2883-5D57-B9C7-04E66950367B}" dt="2026-01-13T09:24:04.671" v="26" actId="465"/>
          <ac:spMkLst>
            <pc:docMk/>
            <pc:sldMk cId="1532065344" sldId="2147483522"/>
            <ac:spMk id="4" creationId="{4980D736-4705-628F-9201-9F6AF9A56CA3}"/>
          </ac:spMkLst>
        </pc:spChg>
        <pc:spChg chg="add mod">
          <ac:chgData name="Jan Cordtz" userId="b5e592fb-fc8b-4323-a97d-691438b2e2da" providerId="ADAL" clId="{4E22EDF5-2883-5D57-B9C7-04E66950367B}" dt="2026-01-13T09:24:04.671" v="26" actId="465"/>
          <ac:spMkLst>
            <pc:docMk/>
            <pc:sldMk cId="1532065344" sldId="2147483522"/>
            <ac:spMk id="5" creationId="{5597B811-3172-9890-6624-FA22F4E152AD}"/>
          </ac:spMkLst>
        </pc:spChg>
        <pc:spChg chg="add mod">
          <ac:chgData name="Jan Cordtz" userId="b5e592fb-fc8b-4323-a97d-691438b2e2da" providerId="ADAL" clId="{4E22EDF5-2883-5D57-B9C7-04E66950367B}" dt="2026-01-13T09:24:04.671" v="26" actId="465"/>
          <ac:spMkLst>
            <pc:docMk/>
            <pc:sldMk cId="1532065344" sldId="2147483522"/>
            <ac:spMk id="6" creationId="{67AD65EE-8ED3-6C70-82EA-4223F1600184}"/>
          </ac:spMkLst>
        </pc:spChg>
        <pc:spChg chg="add mod">
          <ac:chgData name="Jan Cordtz" userId="b5e592fb-fc8b-4323-a97d-691438b2e2da" providerId="ADAL" clId="{4E22EDF5-2883-5D57-B9C7-04E66950367B}" dt="2026-01-13T09:24:04.671" v="26" actId="465"/>
          <ac:spMkLst>
            <pc:docMk/>
            <pc:sldMk cId="1532065344" sldId="2147483522"/>
            <ac:spMk id="7" creationId="{356B9F61-7EA3-C28E-6908-0444C828535D}"/>
          </ac:spMkLst>
        </pc:spChg>
        <pc:spChg chg="add mod">
          <ac:chgData name="Jan Cordtz" userId="b5e592fb-fc8b-4323-a97d-691438b2e2da" providerId="ADAL" clId="{4E22EDF5-2883-5D57-B9C7-04E66950367B}" dt="2026-01-13T09:24:04.671" v="26" actId="465"/>
          <ac:spMkLst>
            <pc:docMk/>
            <pc:sldMk cId="1532065344" sldId="2147483522"/>
            <ac:spMk id="8" creationId="{F91274E5-9697-476B-B88F-DAACDB805015}"/>
          </ac:spMkLst>
        </pc:spChg>
        <pc:spChg chg="add mod">
          <ac:chgData name="Jan Cordtz" userId="b5e592fb-fc8b-4323-a97d-691438b2e2da" providerId="ADAL" clId="{4E22EDF5-2883-5D57-B9C7-04E66950367B}" dt="2026-01-13T09:24:42.675" v="27"/>
          <ac:spMkLst>
            <pc:docMk/>
            <pc:sldMk cId="1532065344" sldId="2147483522"/>
            <ac:spMk id="10" creationId="{55DD5065-E686-7E24-179F-187131A07E12}"/>
          </ac:spMkLst>
        </pc:spChg>
        <pc:spChg chg="add mod">
          <ac:chgData name="Jan Cordtz" userId="b5e592fb-fc8b-4323-a97d-691438b2e2da" providerId="ADAL" clId="{4E22EDF5-2883-5D57-B9C7-04E66950367B}" dt="2026-01-13T09:25:50.608" v="28"/>
          <ac:spMkLst>
            <pc:docMk/>
            <pc:sldMk cId="1532065344" sldId="2147483522"/>
            <ac:spMk id="11" creationId="{837AB5D4-3448-F238-7F37-C18089733C24}"/>
          </ac:spMkLst>
        </pc:spChg>
        <pc:spChg chg="add mod">
          <ac:chgData name="Jan Cordtz" userId="b5e592fb-fc8b-4323-a97d-691438b2e2da" providerId="ADAL" clId="{4E22EDF5-2883-5D57-B9C7-04E66950367B}" dt="2026-01-13T09:26:08.677" v="29"/>
          <ac:spMkLst>
            <pc:docMk/>
            <pc:sldMk cId="1532065344" sldId="2147483522"/>
            <ac:spMk id="12" creationId="{7F441E2E-5961-ED8E-C5AD-6A1AD41D67F5}"/>
          </ac:spMkLst>
        </pc:spChg>
        <pc:spChg chg="add mod">
          <ac:chgData name="Jan Cordtz" userId="b5e592fb-fc8b-4323-a97d-691438b2e2da" providerId="ADAL" clId="{4E22EDF5-2883-5D57-B9C7-04E66950367B}" dt="2026-01-13T09:26:32.177" v="30"/>
          <ac:spMkLst>
            <pc:docMk/>
            <pc:sldMk cId="1532065344" sldId="2147483522"/>
            <ac:spMk id="13" creationId="{67752D57-563D-9A21-2E6D-E9AFCEF1A377}"/>
          </ac:spMkLst>
        </pc:spChg>
      </pc:sldChg>
      <pc:sldChg chg="addSp modSp">
        <pc:chgData name="Jan Cordtz" userId="b5e592fb-fc8b-4323-a97d-691438b2e2da" providerId="ADAL" clId="{4E22EDF5-2883-5D57-B9C7-04E66950367B}" dt="2026-01-13T09:30:42.818" v="33" actId="767"/>
        <pc:sldMkLst>
          <pc:docMk/>
          <pc:sldMk cId="1029413402" sldId="2147483523"/>
        </pc:sldMkLst>
        <pc:spChg chg="add mod">
          <ac:chgData name="Jan Cordtz" userId="b5e592fb-fc8b-4323-a97d-691438b2e2da" providerId="ADAL" clId="{4E22EDF5-2883-5D57-B9C7-04E66950367B}" dt="2026-01-13T09:30:22.063" v="32"/>
          <ac:spMkLst>
            <pc:docMk/>
            <pc:sldMk cId="1029413402" sldId="2147483523"/>
            <ac:spMk id="3" creationId="{0CBC6170-D042-9AC6-65F5-B7DA0E197D02}"/>
          </ac:spMkLst>
        </pc:spChg>
        <pc:spChg chg="add mod">
          <ac:chgData name="Jan Cordtz" userId="b5e592fb-fc8b-4323-a97d-691438b2e2da" providerId="ADAL" clId="{4E22EDF5-2883-5D57-B9C7-04E66950367B}" dt="2026-01-13T09:30:42.818" v="33" actId="767"/>
          <ac:spMkLst>
            <pc:docMk/>
            <pc:sldMk cId="1029413402" sldId="2147483523"/>
            <ac:spMk id="4" creationId="{F5DD2318-3AF0-EBFC-9070-A323B6F3B560}"/>
          </ac:spMkLst>
        </pc:spChg>
      </pc:sldChg>
      <pc:sldChg chg="addSp modSp">
        <pc:chgData name="Jan Cordtz" userId="b5e592fb-fc8b-4323-a97d-691438b2e2da" providerId="ADAL" clId="{4E22EDF5-2883-5D57-B9C7-04E66950367B}" dt="2026-01-13T09:40:43.795" v="37"/>
        <pc:sldMkLst>
          <pc:docMk/>
          <pc:sldMk cId="1027418790" sldId="2147483525"/>
        </pc:sldMkLst>
        <pc:spChg chg="add mod">
          <ac:chgData name="Jan Cordtz" userId="b5e592fb-fc8b-4323-a97d-691438b2e2da" providerId="ADAL" clId="{4E22EDF5-2883-5D57-B9C7-04E66950367B}" dt="2026-01-13T09:35:34.350" v="34"/>
          <ac:spMkLst>
            <pc:docMk/>
            <pc:sldMk cId="1027418790" sldId="2147483525"/>
            <ac:spMk id="2" creationId="{43E6A744-54D3-66B3-5447-FD06F624278B}"/>
          </ac:spMkLst>
        </pc:spChg>
        <pc:spChg chg="add mod">
          <ac:chgData name="Jan Cordtz" userId="b5e592fb-fc8b-4323-a97d-691438b2e2da" providerId="ADAL" clId="{4E22EDF5-2883-5D57-B9C7-04E66950367B}" dt="2026-01-13T09:35:51.519" v="35"/>
          <ac:spMkLst>
            <pc:docMk/>
            <pc:sldMk cId="1027418790" sldId="2147483525"/>
            <ac:spMk id="4" creationId="{D564C612-F79C-DF59-15E8-E6F1C7138C90}"/>
          </ac:spMkLst>
        </pc:spChg>
        <pc:spChg chg="add mod">
          <ac:chgData name="Jan Cordtz" userId="b5e592fb-fc8b-4323-a97d-691438b2e2da" providerId="ADAL" clId="{4E22EDF5-2883-5D57-B9C7-04E66950367B}" dt="2026-01-13T09:35:59.401" v="36"/>
          <ac:spMkLst>
            <pc:docMk/>
            <pc:sldMk cId="1027418790" sldId="2147483525"/>
            <ac:spMk id="5" creationId="{0DFF49B0-C259-2017-3530-6332EFD7CCD2}"/>
          </ac:spMkLst>
        </pc:spChg>
        <pc:spChg chg="add mod">
          <ac:chgData name="Jan Cordtz" userId="b5e592fb-fc8b-4323-a97d-691438b2e2da" providerId="ADAL" clId="{4E22EDF5-2883-5D57-B9C7-04E66950367B}" dt="2026-01-13T09:40:43.795" v="37"/>
          <ac:spMkLst>
            <pc:docMk/>
            <pc:sldMk cId="1027418790" sldId="2147483525"/>
            <ac:spMk id="6" creationId="{427AC2F1-FE8A-C13A-6572-821091E89E14}"/>
          </ac:spMkLst>
        </pc:spChg>
      </pc:sldChg>
      <pc:sldChg chg="addSp modSp">
        <pc:chgData name="Jan Cordtz" userId="b5e592fb-fc8b-4323-a97d-691438b2e2da" providerId="ADAL" clId="{4E22EDF5-2883-5D57-B9C7-04E66950367B}" dt="2026-01-13T09:48:30.416" v="41"/>
        <pc:sldMkLst>
          <pc:docMk/>
          <pc:sldMk cId="1098800254" sldId="2147483526"/>
        </pc:sldMkLst>
        <pc:spChg chg="add mod">
          <ac:chgData name="Jan Cordtz" userId="b5e592fb-fc8b-4323-a97d-691438b2e2da" providerId="ADAL" clId="{4E22EDF5-2883-5D57-B9C7-04E66950367B}" dt="2026-01-13T09:41:05.136" v="38"/>
          <ac:spMkLst>
            <pc:docMk/>
            <pc:sldMk cId="1098800254" sldId="2147483526"/>
            <ac:spMk id="3" creationId="{EF8724FC-CAFC-F6DE-48C9-42F6AD884812}"/>
          </ac:spMkLst>
        </pc:spChg>
        <pc:spChg chg="add mod">
          <ac:chgData name="Jan Cordtz" userId="b5e592fb-fc8b-4323-a97d-691438b2e2da" providerId="ADAL" clId="{4E22EDF5-2883-5D57-B9C7-04E66950367B}" dt="2026-01-13T09:41:13.573" v="39"/>
          <ac:spMkLst>
            <pc:docMk/>
            <pc:sldMk cId="1098800254" sldId="2147483526"/>
            <ac:spMk id="4" creationId="{7D5CD191-0BBE-127F-F7EB-986D38A4D4F7}"/>
          </ac:spMkLst>
        </pc:spChg>
        <pc:spChg chg="add mod">
          <ac:chgData name="Jan Cordtz" userId="b5e592fb-fc8b-4323-a97d-691438b2e2da" providerId="ADAL" clId="{4E22EDF5-2883-5D57-B9C7-04E66950367B}" dt="2026-01-13T09:48:30.416" v="41"/>
          <ac:spMkLst>
            <pc:docMk/>
            <pc:sldMk cId="1098800254" sldId="2147483526"/>
            <ac:spMk id="5" creationId="{1F9259F9-8796-5DBE-ED94-EA7DFF159F75}"/>
          </ac:spMkLst>
        </pc:spChg>
      </pc:sldChg>
      <pc:sldChg chg="addSp modSp">
        <pc:chgData name="Jan Cordtz" userId="b5e592fb-fc8b-4323-a97d-691438b2e2da" providerId="ADAL" clId="{4E22EDF5-2883-5D57-B9C7-04E66950367B}" dt="2026-01-13T09:58:16.655" v="57"/>
        <pc:sldMkLst>
          <pc:docMk/>
          <pc:sldMk cId="3302183867" sldId="2147483528"/>
        </pc:sldMkLst>
        <pc:spChg chg="add mod">
          <ac:chgData name="Jan Cordtz" userId="b5e592fb-fc8b-4323-a97d-691438b2e2da" providerId="ADAL" clId="{4E22EDF5-2883-5D57-B9C7-04E66950367B}" dt="2026-01-13T09:51:35.788" v="45"/>
          <ac:spMkLst>
            <pc:docMk/>
            <pc:sldMk cId="3302183867" sldId="2147483528"/>
            <ac:spMk id="3" creationId="{C98D20BB-0419-991F-BAB6-765B85CF7FDD}"/>
          </ac:spMkLst>
        </pc:spChg>
        <pc:spChg chg="add mod">
          <ac:chgData name="Jan Cordtz" userId="b5e592fb-fc8b-4323-a97d-691438b2e2da" providerId="ADAL" clId="{4E22EDF5-2883-5D57-B9C7-04E66950367B}" dt="2026-01-13T09:53:48.657" v="48"/>
          <ac:spMkLst>
            <pc:docMk/>
            <pc:sldMk cId="3302183867" sldId="2147483528"/>
            <ac:spMk id="4" creationId="{77560B6E-1C6A-FB29-8737-3CA18EECB56C}"/>
          </ac:spMkLst>
        </pc:spChg>
        <pc:spChg chg="add mod">
          <ac:chgData name="Jan Cordtz" userId="b5e592fb-fc8b-4323-a97d-691438b2e2da" providerId="ADAL" clId="{4E22EDF5-2883-5D57-B9C7-04E66950367B}" dt="2026-01-13T09:56:36.720" v="52"/>
          <ac:spMkLst>
            <pc:docMk/>
            <pc:sldMk cId="3302183867" sldId="2147483528"/>
            <ac:spMk id="5" creationId="{58CA4881-8E39-2505-6D9B-B15C1230E651}"/>
          </ac:spMkLst>
        </pc:spChg>
        <pc:spChg chg="add mod">
          <ac:chgData name="Jan Cordtz" userId="b5e592fb-fc8b-4323-a97d-691438b2e2da" providerId="ADAL" clId="{4E22EDF5-2883-5D57-B9C7-04E66950367B}" dt="2026-01-13T09:56:43.886" v="53"/>
          <ac:spMkLst>
            <pc:docMk/>
            <pc:sldMk cId="3302183867" sldId="2147483528"/>
            <ac:spMk id="6" creationId="{558BCEAC-5D46-2F61-760F-C05FDF4A58C8}"/>
          </ac:spMkLst>
        </pc:spChg>
        <pc:spChg chg="add mod">
          <ac:chgData name="Jan Cordtz" userId="b5e592fb-fc8b-4323-a97d-691438b2e2da" providerId="ADAL" clId="{4E22EDF5-2883-5D57-B9C7-04E66950367B}" dt="2026-01-13T09:58:16.655" v="57"/>
          <ac:spMkLst>
            <pc:docMk/>
            <pc:sldMk cId="3302183867" sldId="2147483528"/>
            <ac:spMk id="7" creationId="{DD6DF75C-C88D-CCDE-4A80-E2133BBB941F}"/>
          </ac:spMkLst>
        </pc:spChg>
      </pc:sldChg>
      <pc:sldChg chg="addSp modSp">
        <pc:chgData name="Jan Cordtz" userId="b5e592fb-fc8b-4323-a97d-691438b2e2da" providerId="ADAL" clId="{4E22EDF5-2883-5D57-B9C7-04E66950367B}" dt="2026-01-13T09:58:05.039" v="56"/>
        <pc:sldMkLst>
          <pc:docMk/>
          <pc:sldMk cId="3576385204" sldId="2147483529"/>
        </pc:sldMkLst>
        <pc:spChg chg="add mod">
          <ac:chgData name="Jan Cordtz" userId="b5e592fb-fc8b-4323-a97d-691438b2e2da" providerId="ADAL" clId="{4E22EDF5-2883-5D57-B9C7-04E66950367B}" dt="2026-01-13T09:51:37.188" v="46"/>
          <ac:spMkLst>
            <pc:docMk/>
            <pc:sldMk cId="3576385204" sldId="2147483529"/>
            <ac:spMk id="2" creationId="{FDD357ED-F6CF-634F-B447-381824F82B7B}"/>
          </ac:spMkLst>
        </pc:spChg>
        <pc:spChg chg="add mod">
          <ac:chgData name="Jan Cordtz" userId="b5e592fb-fc8b-4323-a97d-691438b2e2da" providerId="ADAL" clId="{4E22EDF5-2883-5D57-B9C7-04E66950367B}" dt="2026-01-13T09:54:00.604" v="49"/>
          <ac:spMkLst>
            <pc:docMk/>
            <pc:sldMk cId="3576385204" sldId="2147483529"/>
            <ac:spMk id="4" creationId="{CBF596D6-5230-9233-E8C2-C96BB2740B3A}"/>
          </ac:spMkLst>
        </pc:spChg>
        <pc:spChg chg="add mod">
          <ac:chgData name="Jan Cordtz" userId="b5e592fb-fc8b-4323-a97d-691438b2e2da" providerId="ADAL" clId="{4E22EDF5-2883-5D57-B9C7-04E66950367B}" dt="2026-01-13T09:57:48.820" v="55"/>
          <ac:spMkLst>
            <pc:docMk/>
            <pc:sldMk cId="3576385204" sldId="2147483529"/>
            <ac:spMk id="5" creationId="{F98079B4-7DF1-06E9-93C0-AF1DE7044D94}"/>
          </ac:spMkLst>
        </pc:spChg>
        <pc:spChg chg="add mod">
          <ac:chgData name="Jan Cordtz" userId="b5e592fb-fc8b-4323-a97d-691438b2e2da" providerId="ADAL" clId="{4E22EDF5-2883-5D57-B9C7-04E66950367B}" dt="2026-01-13T09:57:31.566" v="54"/>
          <ac:spMkLst>
            <pc:docMk/>
            <pc:sldMk cId="3576385204" sldId="2147483529"/>
            <ac:spMk id="6" creationId="{5A210B1F-0144-3AA4-3175-804E57C43323}"/>
          </ac:spMkLst>
        </pc:spChg>
        <pc:spChg chg="add mod">
          <ac:chgData name="Jan Cordtz" userId="b5e592fb-fc8b-4323-a97d-691438b2e2da" providerId="ADAL" clId="{4E22EDF5-2883-5D57-B9C7-04E66950367B}" dt="2026-01-13T09:58:05.039" v="56"/>
          <ac:spMkLst>
            <pc:docMk/>
            <pc:sldMk cId="3576385204" sldId="2147483529"/>
            <ac:spMk id="7" creationId="{7BB7852D-A1D9-4707-AB7A-16E77E5ACD45}"/>
          </ac:spMkLst>
        </pc:spChg>
      </pc:sldChg>
      <pc:sldChg chg="addSp modSp">
        <pc:chgData name="Jan Cordtz" userId="b5e592fb-fc8b-4323-a97d-691438b2e2da" providerId="ADAL" clId="{4E22EDF5-2883-5D57-B9C7-04E66950367B}" dt="2026-01-13T09:30:18.357" v="31"/>
        <pc:sldMkLst>
          <pc:docMk/>
          <pc:sldMk cId="3818176110" sldId="2147483538"/>
        </pc:sldMkLst>
        <pc:spChg chg="add mod">
          <ac:chgData name="Jan Cordtz" userId="b5e592fb-fc8b-4323-a97d-691438b2e2da" providerId="ADAL" clId="{4E22EDF5-2883-5D57-B9C7-04E66950367B}" dt="2026-01-13T09:30:18.357" v="31"/>
          <ac:spMkLst>
            <pc:docMk/>
            <pc:sldMk cId="3818176110" sldId="2147483538"/>
            <ac:spMk id="3" creationId="{0398001D-0A7A-CD02-C719-7BD10840D39D}"/>
          </ac:spMkLst>
        </pc:spChg>
      </pc:sldChg>
      <pc:sldChg chg="addSp modSp">
        <pc:chgData name="Jan Cordtz" userId="b5e592fb-fc8b-4323-a97d-691438b2e2da" providerId="ADAL" clId="{4E22EDF5-2883-5D57-B9C7-04E66950367B}" dt="2026-01-13T09:58:25.594" v="58"/>
        <pc:sldMkLst>
          <pc:docMk/>
          <pc:sldMk cId="2009978293" sldId="2147483601"/>
        </pc:sldMkLst>
        <pc:spChg chg="add mod">
          <ac:chgData name="Jan Cordtz" userId="b5e592fb-fc8b-4323-a97d-691438b2e2da" providerId="ADAL" clId="{4E22EDF5-2883-5D57-B9C7-04E66950367B}" dt="2026-01-13T09:48:50.762" v="42"/>
          <ac:spMkLst>
            <pc:docMk/>
            <pc:sldMk cId="2009978293" sldId="2147483601"/>
            <ac:spMk id="3" creationId="{EDCF1A09-6FC3-F78F-B808-74EC01FE775B}"/>
          </ac:spMkLst>
        </pc:spChg>
        <pc:spChg chg="add mod">
          <ac:chgData name="Jan Cordtz" userId="b5e592fb-fc8b-4323-a97d-691438b2e2da" providerId="ADAL" clId="{4E22EDF5-2883-5D57-B9C7-04E66950367B}" dt="2026-01-13T09:56:01.964" v="51"/>
          <ac:spMkLst>
            <pc:docMk/>
            <pc:sldMk cId="2009978293" sldId="2147483601"/>
            <ac:spMk id="4" creationId="{609455E0-D4CB-48DB-1CC0-8C7FD5FCA02D}"/>
          </ac:spMkLst>
        </pc:spChg>
        <pc:spChg chg="add mod">
          <ac:chgData name="Jan Cordtz" userId="b5e592fb-fc8b-4323-a97d-691438b2e2da" providerId="ADAL" clId="{4E22EDF5-2883-5D57-B9C7-04E66950367B}" dt="2026-01-13T09:53:31.832" v="47"/>
          <ac:spMkLst>
            <pc:docMk/>
            <pc:sldMk cId="2009978293" sldId="2147483601"/>
            <ac:spMk id="5" creationId="{38CD52F6-0A1E-048E-FD8C-B83370DECF94}"/>
          </ac:spMkLst>
        </pc:spChg>
        <pc:spChg chg="add mod">
          <ac:chgData name="Jan Cordtz" userId="b5e592fb-fc8b-4323-a97d-691438b2e2da" providerId="ADAL" clId="{4E22EDF5-2883-5D57-B9C7-04E66950367B}" dt="2026-01-13T09:55:08.510" v="50"/>
          <ac:spMkLst>
            <pc:docMk/>
            <pc:sldMk cId="2009978293" sldId="2147483601"/>
            <ac:spMk id="6" creationId="{C27C3692-724E-760E-949D-58E1343D899E}"/>
          </ac:spMkLst>
        </pc:spChg>
        <pc:spChg chg="add mod">
          <ac:chgData name="Jan Cordtz" userId="b5e592fb-fc8b-4323-a97d-691438b2e2da" providerId="ADAL" clId="{4E22EDF5-2883-5D57-B9C7-04E66950367B}" dt="2026-01-13T09:58:25.594" v="58"/>
          <ac:spMkLst>
            <pc:docMk/>
            <pc:sldMk cId="2009978293" sldId="2147483601"/>
            <ac:spMk id="7" creationId="{F7496418-1E52-E4F1-0E2F-AB15EEB7EE65}"/>
          </ac:spMkLst>
        </pc:spChg>
        <pc:picChg chg="add mod">
          <ac:chgData name="Jan Cordtz" userId="b5e592fb-fc8b-4323-a97d-691438b2e2da" providerId="ADAL" clId="{4E22EDF5-2883-5D57-B9C7-04E66950367B}" dt="2026-01-13T09:48:20.746" v="40"/>
          <ac:picMkLst>
            <pc:docMk/>
            <pc:sldMk cId="2009978293" sldId="2147483601"/>
            <ac:picMk id="2" creationId="{C3550243-3552-EA42-5C9E-D37582B6DC86}"/>
          </ac:picMkLst>
        </pc:picChg>
      </pc:sldChg>
      <pc:sldChg chg="add">
        <pc:chgData name="Jan Cordtz" userId="b5e592fb-fc8b-4323-a97d-691438b2e2da" providerId="ADAL" clId="{4E22EDF5-2883-5D57-B9C7-04E66950367B}" dt="2026-01-13T09:58:53.659" v="59"/>
        <pc:sldMkLst>
          <pc:docMk/>
          <pc:sldMk cId="1334764523" sldId="214748360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B620E76-BD2A-807A-4F6B-E2A2A228389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29C42-B4BE-60D8-A545-51ED2B96F31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55ECE5-EB93-2D49-8FD9-DADF7BF71AD3}" type="datetimeFigureOut">
              <a:rPr lang="en-US" smtClean="0"/>
              <a:t>1/13/2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EDE36F-DAD8-F01F-BFE8-FDEDCF89C9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01387A-ED64-7FD6-C691-6161AE846A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108420-07C5-0549-A563-96974B861BA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64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F44038-DA64-46A7-879B-15C019DD587C}" type="datetimeFigureOut">
              <a:rPr lang="en-US" smtClean="0"/>
              <a:t>1/13/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E54E06-3DA0-4567-A557-9A2D7B97E8B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42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sz="90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453572-9C5C-4AEF-8FA5-D17DDB1F0B8A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13/26 8:22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59323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ope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228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D5950A1-EF57-F961-9B38-13F40395B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 flipH="1">
            <a:off x="0" y="-6626"/>
            <a:ext cx="12192000" cy="686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738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D5950A1-EF57-F961-9B38-13F40395B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>
            <a:off x="0" y="0"/>
            <a:ext cx="12192000" cy="686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852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flower with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458CC301-4694-33FA-1A6F-2621EAAF1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55"/>
          <a:stretch/>
        </p:blipFill>
        <p:spPr>
          <a:xfrm>
            <a:off x="7472516" y="0"/>
            <a:ext cx="4719484" cy="631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5280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5484"/>
          <a:stretch/>
        </p:blipFill>
        <p:spPr>
          <a:xfrm>
            <a:off x="0" y="2473263"/>
            <a:ext cx="4316896" cy="4384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7602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586" b="-20295"/>
          <a:stretch/>
        </p:blipFill>
        <p:spPr>
          <a:xfrm>
            <a:off x="0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217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431" b="-61696"/>
          <a:stretch/>
        </p:blipFill>
        <p:spPr>
          <a:xfrm>
            <a:off x="0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3764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431" b="-61696"/>
          <a:stretch/>
        </p:blipFill>
        <p:spPr>
          <a:xfrm flipH="1">
            <a:off x="9351981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0332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EC2CAC23-1268-5E7C-87AE-680DA7F183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5671457" cy="319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605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>
          <p15:clr>
            <a:srgbClr val="A4A3A4"/>
          </p15:clr>
        </p15:guide>
        <p15:guide id="16" pos="384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C1D4F9E-3D5B-5D64-BA24-7989A46F1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 dirty="0"/>
              <a:t>Microsoft Confidential–Internal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13CC769-9046-D715-EE31-D61D96591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F8131C-5610-8B47-A47C-619DDB744FE1}" type="slidenum">
              <a:rPr lang="en-IN"/>
              <a:pPr>
                <a:defRPr/>
              </a:pPr>
              <a:t>‹#›</a:t>
            </a:fld>
            <a:endParaRPr lang="en-IN" dirty="0"/>
          </a:p>
        </p:txBody>
      </p:sp>
      <p:pic>
        <p:nvPicPr>
          <p:cNvPr id="5" name="Picture 4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7243609A-36AD-717F-E0B4-594D21A9C3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54670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19F02595-114B-2D46-ABDC-5E65D166807C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4"/>
            <a:ext cx="11306469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EE1E43F-C091-614B-AA20-F39D0AACAA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586"/>
            <a:ext cx="9384447" cy="3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961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br>
              <a:rPr lang="en-US" dirty="0"/>
            </a:br>
            <a:endParaRPr lang="en-US" dirty="0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br>
              <a:rPr lang="en-US" dirty="0"/>
            </a:br>
            <a:endParaRPr lang="en-US" dirty="0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99655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553A46E-C8B2-07FC-6842-6E29F4237B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 flipH="1">
            <a:off x="0" y="-6626"/>
            <a:ext cx="12192000" cy="6864626"/>
          </a:xfrm>
          <a:prstGeom prst="rect">
            <a:avLst/>
          </a:prstGeom>
        </p:spPr>
      </p:pic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6BD9C85B-EC8F-D695-0FA1-6791980AB2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551" y="4038049"/>
            <a:ext cx="3231416" cy="1398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3200">
                <a:solidFill>
                  <a:schemeClr val="bg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marL="228600" lvl="0" indent="-228600"/>
            <a:r>
              <a:rPr lang="en-US" dirty="0"/>
              <a:t>Section title one</a:t>
            </a:r>
          </a:p>
        </p:txBody>
      </p:sp>
    </p:spTree>
    <p:extLst>
      <p:ext uri="{BB962C8B-B14F-4D97-AF65-F5344CB8AC3E}">
        <p14:creationId xmlns:p14="http://schemas.microsoft.com/office/powerpoint/2010/main" val="590366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F18DD5-394A-4676-966A-43A5BAC6E0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icrosoft Purview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399517-6D70-91AD-1227-F9D6955CDA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1356FBF-028C-F74E-A7B4-9B8ED246DD1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536199F-AFBB-90E6-3138-4F79DE029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365125"/>
            <a:ext cx="11029949" cy="549275"/>
          </a:xfrm>
        </p:spPr>
        <p:txBody>
          <a:bodyPr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" name="Picture 1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34D1DF6D-FC7A-C5D0-48D8-C8E0A0336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676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0" pos="1967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1" pos="5120">
          <p15:clr>
            <a:srgbClr val="A4A3A4"/>
          </p15:clr>
        </p15:guide>
        <p15:guide id="25" pos="6308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Large Number Divider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circle in the dark&#10;&#10;Description automatically generated">
            <a:extLst>
              <a:ext uri="{FF2B5EF4-FFF2-40B4-BE49-F238E27FC236}">
                <a16:creationId xmlns:a16="http://schemas.microsoft.com/office/drawing/2014/main" id="{3CBEDED0-2F8D-60CB-73EC-D8A926F1B1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35" b="4494"/>
          <a:stretch/>
        </p:blipFill>
        <p:spPr>
          <a:xfrm>
            <a:off x="-539045" y="807238"/>
            <a:ext cx="7730955" cy="6050762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451A2C5-1E75-8EE3-22E6-59C938C37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7809" y="6311900"/>
            <a:ext cx="39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fld id="{B1356FBF-028C-F74E-A7B4-9B8ED246DD1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9">
            <a:extLst>
              <a:ext uri="{FF2B5EF4-FFF2-40B4-BE49-F238E27FC236}">
                <a16:creationId xmlns:a16="http://schemas.microsoft.com/office/drawing/2014/main" id="{7C14C3DD-159F-0E37-FA23-5C89134B7D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07097" y="6311900"/>
            <a:ext cx="2078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r>
              <a:rPr lang="en-US" dirty="0"/>
              <a:t>Microsoft Purview</a:t>
            </a:r>
          </a:p>
        </p:txBody>
      </p:sp>
    </p:spTree>
    <p:extLst>
      <p:ext uri="{BB962C8B-B14F-4D97-AF65-F5344CB8AC3E}">
        <p14:creationId xmlns:p14="http://schemas.microsoft.com/office/powerpoint/2010/main" val="1118244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slide_logo v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>
            <a:extLst>
              <a:ext uri="{FF2B5EF4-FFF2-40B4-BE49-F238E27FC236}">
                <a16:creationId xmlns:a16="http://schemas.microsoft.com/office/drawing/2014/main" id="{B01B2829-96EF-EDD4-F5DC-8F6DFAFBC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810" y="3423718"/>
            <a:ext cx="3252990" cy="527045"/>
          </a:xfrm>
        </p:spPr>
        <p:txBody>
          <a:bodyPr>
            <a:noAutofit/>
          </a:bodyPr>
          <a:lstStyle>
            <a:lvl1pPr algn="l">
              <a:defRPr sz="3600" b="0" i="0">
                <a:gradFill flip="none" rotWithShape="1">
                  <a:gsLst>
                    <a:gs pos="0">
                      <a:srgbClr val="49C5B1"/>
                    </a:gs>
                    <a:gs pos="82000">
                      <a:srgbClr val="8551C5"/>
                    </a:gs>
                  </a:gsLst>
                  <a:lin ang="10800000" scaled="1"/>
                  <a:tileRect/>
                </a:gra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9CDA471C-44FF-1A4B-B9F4-35DBB6FB41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3390"/>
          <a:stretch/>
        </p:blipFill>
        <p:spPr>
          <a:xfrm>
            <a:off x="594808" y="293628"/>
            <a:ext cx="1566909" cy="544002"/>
          </a:xfrm>
          <a:prstGeom prst="rect">
            <a:avLst/>
          </a:prstGeom>
        </p:spPr>
      </p:pic>
      <p:pic>
        <p:nvPicPr>
          <p:cNvPr id="3" name="Picture 2" descr="A purple circle in the dark&#10;&#10;Description automatically generated">
            <a:extLst>
              <a:ext uri="{FF2B5EF4-FFF2-40B4-BE49-F238E27FC236}">
                <a16:creationId xmlns:a16="http://schemas.microsoft.com/office/drawing/2014/main" id="{4306B846-38BE-5723-8ACE-4C505C4C9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6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35" b="4494"/>
          <a:stretch/>
        </p:blipFill>
        <p:spPr>
          <a:xfrm>
            <a:off x="-539045" y="807238"/>
            <a:ext cx="7730955" cy="6050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5464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EC2CAC23-1268-5E7C-87AE-680DA7F183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0543" y="0"/>
            <a:ext cx="5671457" cy="319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488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>
          <p15:clr>
            <a:srgbClr val="A4A3A4"/>
          </p15:clr>
        </p15:guide>
        <p15:guide id="16" pos="384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3516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087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ird, parrot&#10;&#10;Description automatically generated">
            <a:extLst>
              <a:ext uri="{FF2B5EF4-FFF2-40B4-BE49-F238E27FC236}">
                <a16:creationId xmlns:a16="http://schemas.microsoft.com/office/drawing/2014/main" id="{B6C67116-D23B-FFB4-4BF9-4EBB603DB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53"/>
          <a:stretch/>
        </p:blipFill>
        <p:spPr>
          <a:xfrm rot="1200000" flipH="1">
            <a:off x="7572751" y="-710028"/>
            <a:ext cx="5701622" cy="296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82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99B5728-1D33-9E0D-152D-CDDC5FCE9D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296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532" imgH="533" progId="TCLayout.ActiveDocument.1">
                  <p:embed/>
                </p:oleObj>
              </mc:Choice>
              <mc:Fallback>
                <p:oleObj name="think-cell Slide" r:id="rId22" imgW="532" imgH="53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9B5728-1D33-9E0D-152D-CDDC5FCE9D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E9EE7-FB3C-7D1F-A2DB-596E09388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365125"/>
            <a:ext cx="11029949" cy="8286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Title Slid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27FA82-318A-3A34-2934-24B034B580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2571" y="6309519"/>
            <a:ext cx="39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fld id="{B1356FBF-028C-F74E-A7B4-9B8ED246DD1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E92EE12-E16C-066A-7EFA-7E3A5BF6D5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1859" y="6309519"/>
            <a:ext cx="2078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r>
              <a:rPr lang="en-US" dirty="0"/>
              <a:t>Microsoft Purvie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60E398-2D0F-4954-1796-3B6310DECA0C}"/>
              </a:ext>
            </a:extLst>
          </p:cNvPr>
          <p:cNvSpPr txBox="1"/>
          <p:nvPr userDrawn="1"/>
        </p:nvSpPr>
        <p:spPr>
          <a:xfrm>
            <a:off x="10445303" y="6383710"/>
            <a:ext cx="17466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0" dirty="0">
                <a:solidFill>
                  <a:srgbClr val="666666"/>
                </a:solidFill>
                <a:latin typeface="Segoe Sans Display" pitchFamily="2" charset="0"/>
                <a:cs typeface="Segoe Sans Display" pitchFamily="2" charset="0"/>
              </a:rPr>
              <a:t>Microsoft Purview</a:t>
            </a:r>
          </a:p>
        </p:txBody>
      </p:sp>
    </p:spTree>
    <p:extLst>
      <p:ext uri="{BB962C8B-B14F-4D97-AF65-F5344CB8AC3E}">
        <p14:creationId xmlns:p14="http://schemas.microsoft.com/office/powerpoint/2010/main" val="2167567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5" r:id="rId1"/>
    <p:sldLayoutId id="2147484688" r:id="rId2"/>
    <p:sldLayoutId id="2147484701" r:id="rId3"/>
    <p:sldLayoutId id="2147484718" r:id="rId4"/>
    <p:sldLayoutId id="2147484756" r:id="rId5"/>
    <p:sldLayoutId id="2147484803" r:id="rId6"/>
    <p:sldLayoutId id="2147484804" r:id="rId7"/>
    <p:sldLayoutId id="2147484805" r:id="rId8"/>
    <p:sldLayoutId id="2147484806" r:id="rId9"/>
    <p:sldLayoutId id="2147484807" r:id="rId10"/>
    <p:sldLayoutId id="2147484808" r:id="rId11"/>
    <p:sldLayoutId id="2147484809" r:id="rId12"/>
    <p:sldLayoutId id="2147484810" r:id="rId13"/>
    <p:sldLayoutId id="2147484811" r:id="rId14"/>
    <p:sldLayoutId id="2147484812" r:id="rId15"/>
    <p:sldLayoutId id="2147484813" r:id="rId16"/>
    <p:sldLayoutId id="2147484814" r:id="rId17"/>
    <p:sldLayoutId id="2147484816" r:id="rId18"/>
    <p:sldLayoutId id="2147484817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+mj-lt"/>
          <a:ea typeface="+mj-ea"/>
          <a:cs typeface="Segoe Sans Display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9">
          <p15:clr>
            <a:srgbClr val="F26B43"/>
          </p15:clr>
        </p15:guide>
        <p15:guide id="2" pos="366">
          <p15:clr>
            <a:srgbClr val="F26B43"/>
          </p15:clr>
        </p15:guide>
        <p15:guide id="4" pos="7314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760">
          <p15:clr>
            <a:srgbClr val="F26B43"/>
          </p15:clr>
        </p15:guide>
        <p15:guide id="7" orient="horz" pos="1070">
          <p15:clr>
            <a:srgbClr val="F26B43"/>
          </p15:clr>
        </p15:guide>
        <p15:guide id="8" orient="horz" pos="3973">
          <p15:clr>
            <a:srgbClr val="F26B43"/>
          </p15:clr>
        </p15:guide>
        <p15:guide id="9" pos="1968">
          <p15:clr>
            <a:srgbClr val="A4A3A4"/>
          </p15:clr>
        </p15:guide>
        <p15:guide id="10" pos="2148">
          <p15:clr>
            <a:srgbClr val="A4A3A4"/>
          </p15:clr>
        </p15:guide>
        <p15:guide id="11" pos="3750">
          <p15:clr>
            <a:srgbClr val="A4A3A4"/>
          </p15:clr>
        </p15:guide>
        <p15:guide id="12" pos="3930">
          <p15:clr>
            <a:srgbClr val="A4A3A4"/>
          </p15:clr>
        </p15:guide>
        <p15:guide id="13" pos="5532">
          <p15:clr>
            <a:srgbClr val="A4A3A4"/>
          </p15:clr>
        </p15:guide>
        <p15:guide id="14" pos="5712">
          <p15:clr>
            <a:srgbClr val="A4A3A4"/>
          </p15:clr>
        </p15:guide>
        <p15:guide id="15" pos="7496">
          <p15:clr>
            <a:srgbClr val="A4A3A4"/>
          </p15:clr>
        </p15:guide>
        <p15:guide id="16" pos="186">
          <p15:clr>
            <a:srgbClr val="A4A3A4"/>
          </p15:clr>
        </p15:guide>
        <p15:guide id="17" pos="780">
          <p15:clr>
            <a:srgbClr val="A4A3A4"/>
          </p15:clr>
        </p15:guide>
        <p15:guide id="18" pos="957">
          <p15:clr>
            <a:srgbClr val="A4A3A4"/>
          </p15:clr>
        </p15:guide>
        <p15:guide id="19" pos="1374">
          <p15:clr>
            <a:srgbClr val="A4A3A4"/>
          </p15:clr>
        </p15:guide>
        <p15:guide id="20" pos="1554">
          <p15:clr>
            <a:srgbClr val="A4A3A4"/>
          </p15:clr>
        </p15:guide>
        <p15:guide id="21" pos="2562">
          <p15:clr>
            <a:srgbClr val="A4A3A4"/>
          </p15:clr>
        </p15:guide>
        <p15:guide id="22" pos="2739">
          <p15:clr>
            <a:srgbClr val="A4A3A4"/>
          </p15:clr>
        </p15:guide>
        <p15:guide id="23" pos="3156">
          <p15:clr>
            <a:srgbClr val="A4A3A4"/>
          </p15:clr>
        </p15:guide>
        <p15:guide id="24" pos="3336">
          <p15:clr>
            <a:srgbClr val="A4A3A4"/>
          </p15:clr>
        </p15:guide>
        <p15:guide id="25" pos="4344">
          <p15:clr>
            <a:srgbClr val="A4A3A4"/>
          </p15:clr>
        </p15:guide>
        <p15:guide id="26" pos="4526">
          <p15:clr>
            <a:srgbClr val="A4A3A4"/>
          </p15:clr>
        </p15:guide>
        <p15:guide id="27" pos="4938">
          <p15:clr>
            <a:srgbClr val="A4A3A4"/>
          </p15:clr>
        </p15:guide>
        <p15:guide id="28" pos="5120">
          <p15:clr>
            <a:srgbClr val="A4A3A4"/>
          </p15:clr>
        </p15:guide>
        <p15:guide id="29" pos="6126">
          <p15:clr>
            <a:srgbClr val="A4A3A4"/>
          </p15:clr>
        </p15:guide>
        <p15:guide id="30" pos="6308">
          <p15:clr>
            <a:srgbClr val="A4A3A4"/>
          </p15:clr>
        </p15:guide>
        <p15:guide id="31" pos="6720">
          <p15:clr>
            <a:srgbClr val="A4A3A4"/>
          </p15:clr>
        </p15:guide>
        <p15:guide id="32" pos="690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1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1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1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1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1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1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1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1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1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1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1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1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1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1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1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1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1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1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1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1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1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1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1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36">
            <a:extLst>
              <a:ext uri="{FF2B5EF4-FFF2-40B4-BE49-F238E27FC236}">
                <a16:creationId xmlns:a16="http://schemas.microsoft.com/office/drawing/2014/main" id="{40CB8A5C-7978-D6DF-6BCB-6AA6077897C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620523" y="1711794"/>
            <a:ext cx="4446587" cy="2427943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Governance</a:t>
            </a:r>
            <a:r>
              <a:rPr lang="en-GB" dirty="0"/>
              <a:t> and Compliance with Microsoft Purview</a:t>
            </a:r>
            <a:br>
              <a:rPr lang="en-GB" dirty="0"/>
            </a:br>
            <a:br>
              <a:rPr lang="en-GB" dirty="0"/>
            </a:br>
            <a:r>
              <a:rPr lang="en-GB" dirty="0"/>
              <a:t>A getting started guide –</a:t>
            </a:r>
            <a:br>
              <a:rPr lang="en-GB" dirty="0"/>
            </a:br>
            <a:r>
              <a:rPr lang="en-GB" b="1" i="1" dirty="0"/>
              <a:t>Unified </a:t>
            </a:r>
            <a:r>
              <a:rPr lang="en-GB" b="1" i="1" dirty="0" err="1"/>
              <a:t>catalog</a:t>
            </a:r>
            <a:endParaRPr lang="en-US" b="1" i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FE63F7-CA11-EE0D-34D2-1201EFE93977}"/>
              </a:ext>
            </a:extLst>
          </p:cNvPr>
          <p:cNvSpPr txBox="1"/>
          <p:nvPr/>
        </p:nvSpPr>
        <p:spPr>
          <a:xfrm>
            <a:off x="6510824" y="4254747"/>
            <a:ext cx="416928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Jan Cordtz, Snr. Cloud Solution Architect</a:t>
            </a:r>
          </a:p>
          <a:p>
            <a:r>
              <a:rPr lang="en-US"/>
              <a:t>Microsoft Denmark</a:t>
            </a:r>
          </a:p>
          <a:p>
            <a:endParaRPr lang="en-DK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F8D2DC-C8B4-6322-2C43-B0CC81930541}"/>
              </a:ext>
            </a:extLst>
          </p:cNvPr>
          <p:cNvSpPr txBox="1"/>
          <p:nvPr/>
        </p:nvSpPr>
        <p:spPr>
          <a:xfrm>
            <a:off x="622852" y="2913935"/>
            <a:ext cx="40184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</a:rPr>
              <a:t>If you think compliance is complicated,</a:t>
            </a:r>
            <a:br>
              <a:rPr lang="en-GB" b="1">
                <a:solidFill>
                  <a:schemeClr val="bg1"/>
                </a:solidFill>
              </a:rPr>
            </a:br>
            <a:r>
              <a:rPr lang="en-GB" b="1">
                <a:solidFill>
                  <a:schemeClr val="bg1"/>
                </a:solidFill>
              </a:rPr>
              <a:t>feel free to try incompliance!</a:t>
            </a:r>
            <a:endParaRPr lang="en-DK" b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F21A6C-97B1-2888-CE88-F83D203B392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3390"/>
          <a:stretch/>
        </p:blipFill>
        <p:spPr>
          <a:xfrm>
            <a:off x="8595466" y="6211544"/>
            <a:ext cx="1566909" cy="544002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215BF0C-A693-8110-B0D8-35654CBC84D2}"/>
              </a:ext>
            </a:extLst>
          </p:cNvPr>
          <p:cNvCxnSpPr/>
          <p:nvPr/>
        </p:nvCxnSpPr>
        <p:spPr>
          <a:xfrm>
            <a:off x="10299391" y="6292598"/>
            <a:ext cx="0" cy="452582"/>
          </a:xfrm>
          <a:prstGeom prst="line">
            <a:avLst/>
          </a:prstGeom>
          <a:ln w="12700"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AE45D75-77AE-3079-FFC7-8EBA288E263F}"/>
              </a:ext>
            </a:extLst>
          </p:cNvPr>
          <p:cNvSpPr txBox="1"/>
          <p:nvPr/>
        </p:nvSpPr>
        <p:spPr>
          <a:xfrm>
            <a:off x="531412" y="5872558"/>
            <a:ext cx="61938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Note – in this document the name </a:t>
            </a:r>
            <a:r>
              <a:rPr lang="en-US" b="1"/>
              <a:t>Purview</a:t>
            </a:r>
            <a:r>
              <a:rPr lang="en-US"/>
              <a:t> – if not otherwise</a:t>
            </a:r>
          </a:p>
          <a:p>
            <a:r>
              <a:rPr lang="en-US"/>
              <a:t>stated - is used for the Data Governance part of Purview.</a:t>
            </a:r>
          </a:p>
        </p:txBody>
      </p:sp>
    </p:spTree>
    <p:extLst>
      <p:ext uri="{BB962C8B-B14F-4D97-AF65-F5344CB8AC3E}">
        <p14:creationId xmlns:p14="http://schemas.microsoft.com/office/powerpoint/2010/main" val="3886619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3550243-3552-EA42-5C9E-D37582B6DC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990" y="1505096"/>
            <a:ext cx="7772400" cy="384780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DCF1A09-6FC3-F78F-B808-74EC01FE775B}"/>
              </a:ext>
            </a:extLst>
          </p:cNvPr>
          <p:cNvSpPr txBox="1"/>
          <p:nvPr/>
        </p:nvSpPr>
        <p:spPr>
          <a:xfrm>
            <a:off x="344490" y="443821"/>
            <a:ext cx="4665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arch – Enterprise glossary – Glossary term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09455E0-D4CB-48DB-1CC0-8C7FD5FCA02D}"/>
              </a:ext>
            </a:extLst>
          </p:cNvPr>
          <p:cNvSpPr txBox="1"/>
          <p:nvPr/>
        </p:nvSpPr>
        <p:spPr>
          <a:xfrm>
            <a:off x="7156499" y="1979941"/>
            <a:ext cx="4478645" cy="3139321"/>
          </a:xfrm>
          <a:prstGeom prst="rect">
            <a:avLst/>
          </a:prstGeom>
          <a:solidFill>
            <a:srgbClr val="FFFDF9">
              <a:alpha val="66000"/>
            </a:srgb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Enterprise glossary </a:t>
            </a:r>
            <a:r>
              <a:rPr lang="en-US" dirty="0"/>
              <a:t>search provides access to searching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glossary terms</a:t>
            </a:r>
            <a:r>
              <a:rPr lang="en-US" dirty="0"/>
              <a:t>,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critical data elements</a:t>
            </a:r>
            <a:r>
              <a:rPr lang="en-US" dirty="0"/>
              <a:t> as well as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objectives and key results</a:t>
            </a:r>
            <a:r>
              <a:rPr lang="en-US" dirty="0"/>
              <a:t> (OKRs).</a:t>
            </a:r>
          </a:p>
          <a:p>
            <a:endParaRPr lang="en-US" dirty="0"/>
          </a:p>
          <a:p>
            <a:r>
              <a:rPr lang="en-US" dirty="0"/>
              <a:t>This screen show the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glossary terms </a:t>
            </a:r>
            <a:r>
              <a:rPr lang="en-US" dirty="0"/>
              <a:t>search.</a:t>
            </a:r>
          </a:p>
          <a:p>
            <a:endParaRPr lang="en-US" dirty="0"/>
          </a:p>
          <a:p>
            <a:r>
              <a:rPr lang="en-US" dirty="0"/>
              <a:t>You can add </a:t>
            </a:r>
            <a:r>
              <a:rPr lang="en-US" u="sng" dirty="0"/>
              <a:t>filters</a:t>
            </a:r>
            <a:r>
              <a:rPr lang="en-US" dirty="0"/>
              <a:t> or “just” search by the </a:t>
            </a:r>
            <a:r>
              <a:rPr lang="en-US" u="sng" dirty="0"/>
              <a:t>name</a:t>
            </a:r>
            <a:r>
              <a:rPr lang="en-US" dirty="0"/>
              <a:t> you are looking for.</a:t>
            </a: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8CD52F6-0A1E-048E-FD8C-B83370DECF94}"/>
              </a:ext>
            </a:extLst>
          </p:cNvPr>
          <p:cNvSpPr/>
          <p:nvPr/>
        </p:nvSpPr>
        <p:spPr>
          <a:xfrm>
            <a:off x="110990" y="2449232"/>
            <a:ext cx="1173704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C27C3692-724E-760E-949D-58E1343D899E}"/>
              </a:ext>
            </a:extLst>
          </p:cNvPr>
          <p:cNvSpPr/>
          <p:nvPr/>
        </p:nvSpPr>
        <p:spPr>
          <a:xfrm rot="11694641">
            <a:off x="3133189" y="3124536"/>
            <a:ext cx="5778433" cy="139604"/>
          </a:xfrm>
          <a:prstGeom prst="rightArrow">
            <a:avLst/>
          </a:prstGeom>
          <a:solidFill>
            <a:schemeClr val="bg2">
              <a:alpha val="2942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7496418-1E52-E4F1-0E2F-AB15EEB7EE65}"/>
              </a:ext>
            </a:extLst>
          </p:cNvPr>
          <p:cNvSpPr/>
          <p:nvPr/>
        </p:nvSpPr>
        <p:spPr>
          <a:xfrm>
            <a:off x="1170758" y="1856630"/>
            <a:ext cx="978737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9782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3BAF6CD-35AF-5238-E6F7-E06298925B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123" y="1441174"/>
            <a:ext cx="7772400" cy="397565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98D20BB-0419-991F-BAB6-765B85CF7FDD}"/>
              </a:ext>
            </a:extLst>
          </p:cNvPr>
          <p:cNvSpPr txBox="1"/>
          <p:nvPr/>
        </p:nvSpPr>
        <p:spPr>
          <a:xfrm>
            <a:off x="344490" y="443821"/>
            <a:ext cx="5331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arch – Enterprise glossary – Critical data element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77560B6E-1C6A-FB29-8737-3CA18EECB56C}"/>
              </a:ext>
            </a:extLst>
          </p:cNvPr>
          <p:cNvSpPr/>
          <p:nvPr/>
        </p:nvSpPr>
        <p:spPr>
          <a:xfrm>
            <a:off x="344490" y="2562587"/>
            <a:ext cx="1333170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8CA4881-8E39-2505-6D9B-B15C1230E651}"/>
              </a:ext>
            </a:extLst>
          </p:cNvPr>
          <p:cNvSpPr txBox="1"/>
          <p:nvPr/>
        </p:nvSpPr>
        <p:spPr>
          <a:xfrm>
            <a:off x="7535421" y="1780254"/>
            <a:ext cx="4478645" cy="3416320"/>
          </a:xfrm>
          <a:prstGeom prst="rect">
            <a:avLst/>
          </a:prstGeom>
          <a:solidFill>
            <a:srgbClr val="FFFDF9">
              <a:alpha val="66000"/>
            </a:srgb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Enterprise glossary </a:t>
            </a:r>
            <a:r>
              <a:rPr lang="en-US" dirty="0"/>
              <a:t>search provides access to searching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glossary terms</a:t>
            </a:r>
            <a:r>
              <a:rPr lang="en-US" dirty="0"/>
              <a:t>,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critical data elements</a:t>
            </a:r>
            <a:r>
              <a:rPr lang="en-US" dirty="0"/>
              <a:t> as well as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objectives and key results</a:t>
            </a:r>
            <a:r>
              <a:rPr lang="en-US" dirty="0"/>
              <a:t> (OKRs).</a:t>
            </a:r>
          </a:p>
          <a:p>
            <a:endParaRPr lang="en-US" dirty="0"/>
          </a:p>
          <a:p>
            <a:r>
              <a:rPr lang="en-US" dirty="0"/>
              <a:t>This screen show the </a:t>
            </a:r>
            <a:r>
              <a:rPr lang="en-US" dirty="0" err="1">
                <a:solidFill>
                  <a:schemeClr val="accent1">
                    <a:lumMod val="50000"/>
                  </a:schemeClr>
                </a:solidFill>
              </a:rPr>
              <a:t>Critial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 data elements </a:t>
            </a:r>
            <a:r>
              <a:rPr lang="en-US" dirty="0"/>
              <a:t>search.</a:t>
            </a:r>
          </a:p>
          <a:p>
            <a:endParaRPr lang="en-US" dirty="0"/>
          </a:p>
          <a:p>
            <a:r>
              <a:rPr lang="en-US" dirty="0"/>
              <a:t>You can add </a:t>
            </a:r>
            <a:r>
              <a:rPr lang="en-US" u="sng" dirty="0"/>
              <a:t>filters</a:t>
            </a:r>
            <a:r>
              <a:rPr lang="en-US" dirty="0"/>
              <a:t> or “just” search by the </a:t>
            </a:r>
            <a:r>
              <a:rPr lang="en-US" u="sng" dirty="0"/>
              <a:t>name</a:t>
            </a:r>
            <a:r>
              <a:rPr lang="en-US" dirty="0"/>
              <a:t> you are looking for.</a:t>
            </a: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558BCEAC-5D46-2F61-760F-C05FDF4A58C8}"/>
              </a:ext>
            </a:extLst>
          </p:cNvPr>
          <p:cNvSpPr/>
          <p:nvPr/>
        </p:nvSpPr>
        <p:spPr>
          <a:xfrm rot="11694641">
            <a:off x="3607014" y="3215976"/>
            <a:ext cx="5778433" cy="139604"/>
          </a:xfrm>
          <a:prstGeom prst="rightArrow">
            <a:avLst/>
          </a:prstGeom>
          <a:solidFill>
            <a:schemeClr val="bg2">
              <a:alpha val="2942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D6DF75C-C88D-CCDE-4A80-E2133BBB941F}"/>
              </a:ext>
            </a:extLst>
          </p:cNvPr>
          <p:cNvSpPr/>
          <p:nvPr/>
        </p:nvSpPr>
        <p:spPr>
          <a:xfrm>
            <a:off x="2417667" y="1845811"/>
            <a:ext cx="978737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1838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7C1FC9B-137D-DC29-3CE2-17F1677C80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081" y="1441174"/>
            <a:ext cx="7772400" cy="397565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D357ED-F6CF-634F-B447-381824F82B7B}"/>
              </a:ext>
            </a:extLst>
          </p:cNvPr>
          <p:cNvSpPr txBox="1"/>
          <p:nvPr/>
        </p:nvSpPr>
        <p:spPr>
          <a:xfrm>
            <a:off x="344490" y="443821"/>
            <a:ext cx="37317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arch – Enterprise glossary – OKR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BF596D6-5230-9233-E8C2-C96BB2740B3A}"/>
              </a:ext>
            </a:extLst>
          </p:cNvPr>
          <p:cNvSpPr/>
          <p:nvPr/>
        </p:nvSpPr>
        <p:spPr>
          <a:xfrm>
            <a:off x="344489" y="2585258"/>
            <a:ext cx="1257599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8079B4-7DF1-06E9-93C0-AF1DE7044D94}"/>
              </a:ext>
            </a:extLst>
          </p:cNvPr>
          <p:cNvSpPr txBox="1"/>
          <p:nvPr/>
        </p:nvSpPr>
        <p:spPr>
          <a:xfrm>
            <a:off x="7535421" y="1780254"/>
            <a:ext cx="4478645" cy="3416320"/>
          </a:xfrm>
          <a:prstGeom prst="rect">
            <a:avLst/>
          </a:prstGeom>
          <a:solidFill>
            <a:srgbClr val="FFFDF9">
              <a:alpha val="66000"/>
            </a:srgb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Enterprise glossary </a:t>
            </a:r>
            <a:r>
              <a:rPr lang="en-US" dirty="0"/>
              <a:t>search provides access to searching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glossary terms</a:t>
            </a:r>
            <a:r>
              <a:rPr lang="en-US" dirty="0"/>
              <a:t>,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critical data elements</a:t>
            </a:r>
            <a:r>
              <a:rPr lang="en-US" dirty="0"/>
              <a:t> as well as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objectives and key results</a:t>
            </a:r>
            <a:r>
              <a:rPr lang="en-US" dirty="0"/>
              <a:t> (OKRs).</a:t>
            </a:r>
          </a:p>
          <a:p>
            <a:endParaRPr lang="en-US" dirty="0"/>
          </a:p>
          <a:p>
            <a:r>
              <a:rPr lang="en-US" dirty="0"/>
              <a:t>This screen show the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objectives and key results</a:t>
            </a:r>
            <a:r>
              <a:rPr lang="en-US" dirty="0"/>
              <a:t> (OKRs) search.</a:t>
            </a:r>
          </a:p>
          <a:p>
            <a:endParaRPr lang="en-US" dirty="0"/>
          </a:p>
          <a:p>
            <a:r>
              <a:rPr lang="en-US" dirty="0"/>
              <a:t>You can add </a:t>
            </a:r>
            <a:r>
              <a:rPr lang="en-US" u="sng" dirty="0"/>
              <a:t>filters</a:t>
            </a:r>
            <a:r>
              <a:rPr lang="en-US" dirty="0"/>
              <a:t> or “just” search by the </a:t>
            </a:r>
            <a:r>
              <a:rPr lang="en-US" u="sng" dirty="0"/>
              <a:t>name</a:t>
            </a:r>
            <a:r>
              <a:rPr lang="en-US" dirty="0"/>
              <a:t> you are looking for.</a:t>
            </a: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5A210B1F-0144-3AA4-3175-804E57C43323}"/>
              </a:ext>
            </a:extLst>
          </p:cNvPr>
          <p:cNvSpPr/>
          <p:nvPr/>
        </p:nvSpPr>
        <p:spPr>
          <a:xfrm rot="11694641">
            <a:off x="3607014" y="3215976"/>
            <a:ext cx="5778433" cy="139604"/>
          </a:xfrm>
          <a:prstGeom prst="rightArrow">
            <a:avLst/>
          </a:prstGeom>
          <a:solidFill>
            <a:schemeClr val="bg2">
              <a:alpha val="2942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BB7852D-A1D9-4707-AB7A-16E77E5ACD45}"/>
              </a:ext>
            </a:extLst>
          </p:cNvPr>
          <p:cNvSpPr/>
          <p:nvPr/>
        </p:nvSpPr>
        <p:spPr>
          <a:xfrm>
            <a:off x="2994467" y="1837499"/>
            <a:ext cx="978737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63852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8BAEDD-106B-DB9D-771A-73BEC86195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359DBE8-F050-3A41-3E48-0CA767364135}"/>
              </a:ext>
            </a:extLst>
          </p:cNvPr>
          <p:cNvSpPr txBox="1"/>
          <p:nvPr/>
        </p:nvSpPr>
        <p:spPr>
          <a:xfrm>
            <a:off x="6575323" y="2924035"/>
            <a:ext cx="304602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Catalog management</a:t>
            </a:r>
          </a:p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Governance domains</a:t>
            </a:r>
          </a:p>
        </p:txBody>
      </p:sp>
    </p:spTree>
    <p:extLst>
      <p:ext uri="{BB962C8B-B14F-4D97-AF65-F5344CB8AC3E}">
        <p14:creationId xmlns:p14="http://schemas.microsoft.com/office/powerpoint/2010/main" val="13347645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02980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9AB5C00-B330-016C-AFAD-6B5E3E10AC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195" y="1441174"/>
            <a:ext cx="7772400" cy="3975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9300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F30913A-B84A-537F-9757-01424F2B49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530" y="1441174"/>
            <a:ext cx="7772400" cy="397565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5D94035-0545-84FE-0BC4-052FB89AFB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6378" y="2959443"/>
            <a:ext cx="1263650" cy="1289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5839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2A089F8-229D-6643-AF3A-D09D95F605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481" y="1347825"/>
            <a:ext cx="7772400" cy="4162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9019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B6FA997-46DD-E4CE-9C40-8139EA558A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957" y="1519608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5344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E7DFD26-3C22-798A-10A9-C7C2C6721A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459" y="1519608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3338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EEC98B-A882-D20D-4BB7-B27CB4F9DB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039725-BF3F-E2DE-64B9-DB998EEDD50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00800" y="2384897"/>
            <a:ext cx="5127585" cy="2566481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GB" sz="4000">
                <a:solidFill>
                  <a:schemeClr val="bg1"/>
                </a:solidFill>
              </a:rPr>
              <a:t>Get </a:t>
            </a:r>
            <a:r>
              <a:rPr lang="en-GB" sz="4000" b="1">
                <a:solidFill>
                  <a:schemeClr val="accent1">
                    <a:lumMod val="50000"/>
                  </a:schemeClr>
                </a:solidFill>
              </a:rPr>
              <a:t>Purview Data Governance</a:t>
            </a:r>
            <a:r>
              <a:rPr lang="en-GB" sz="4000">
                <a:solidFill>
                  <a:schemeClr val="bg1"/>
                </a:solidFill>
              </a:rPr>
              <a:t> running</a:t>
            </a:r>
            <a:endParaRPr lang="en-DK" sz="4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3465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4FB59FA-E78E-8235-F777-BA98A32909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718" y="1663043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5615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89E7940-944B-9398-0777-7987514A82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494" y="1582361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5345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4D185BF-E4C8-4521-7E74-C532233574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318" y="1519608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4691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788BD6B-235E-C49C-0365-C3CD58C9CD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177" y="1636392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9122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01EA74-AFDA-9558-FE85-25DB48548C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452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90475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B1B561D-041E-6712-C297-A37156D83F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243" y="1698037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2574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B7F0BE7-3A97-F919-4097-FC9047DBDF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339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0783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C6C5C05-30A5-BD2C-6576-F2D7807752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065" y="1698038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59914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F71449A-7F0E-F889-6AC8-64B8768F84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98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5452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F603771-B0B0-802C-8B7B-48414E3B0A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259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7913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A4F5D922-AE45-FA32-F6EB-C32BB99FED31}"/>
              </a:ext>
            </a:extLst>
          </p:cNvPr>
          <p:cNvSpPr/>
          <p:nvPr/>
        </p:nvSpPr>
        <p:spPr>
          <a:xfrm>
            <a:off x="5097134" y="1405852"/>
            <a:ext cx="4552264" cy="5297311"/>
          </a:xfrm>
          <a:prstGeom prst="roundRect">
            <a:avLst>
              <a:gd name="adj" fmla="val 5971"/>
            </a:avLst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-Turn Arrow 22">
            <a:extLst>
              <a:ext uri="{FF2B5EF4-FFF2-40B4-BE49-F238E27FC236}">
                <a16:creationId xmlns:a16="http://schemas.microsoft.com/office/drawing/2014/main" id="{45D074B9-75A7-CA3B-2F60-9E20BDC04D12}"/>
              </a:ext>
            </a:extLst>
          </p:cNvPr>
          <p:cNvSpPr/>
          <p:nvPr/>
        </p:nvSpPr>
        <p:spPr>
          <a:xfrm rot="5400000" flipV="1">
            <a:off x="247984" y="4148516"/>
            <a:ext cx="1828796" cy="932685"/>
          </a:xfrm>
          <a:prstGeom prst="uturnArrow">
            <a:avLst>
              <a:gd name="adj1" fmla="val 17157"/>
              <a:gd name="adj2" fmla="val 15686"/>
              <a:gd name="adj3" fmla="val 24020"/>
              <a:gd name="adj4" fmla="val 43750"/>
              <a:gd name="adj5" fmla="val 75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BD431AD-AF7B-319E-2906-58D8681FBBBE}"/>
              </a:ext>
            </a:extLst>
          </p:cNvPr>
          <p:cNvSpPr txBox="1"/>
          <p:nvPr/>
        </p:nvSpPr>
        <p:spPr>
          <a:xfrm>
            <a:off x="595223" y="422694"/>
            <a:ext cx="23693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The Purview “Process”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7F4E9549-AFE9-D4DE-5162-4DCA67AFC2F8}"/>
              </a:ext>
            </a:extLst>
          </p:cNvPr>
          <p:cNvSpPr/>
          <p:nvPr/>
        </p:nvSpPr>
        <p:spPr>
          <a:xfrm>
            <a:off x="1162383" y="4069466"/>
            <a:ext cx="1063913" cy="24154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Scan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2757BD0E-6046-498C-00AB-DECFABF21107}"/>
              </a:ext>
            </a:extLst>
          </p:cNvPr>
          <p:cNvSpPr/>
          <p:nvPr/>
        </p:nvSpPr>
        <p:spPr>
          <a:xfrm>
            <a:off x="2496614" y="4078092"/>
            <a:ext cx="1063913" cy="24154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API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03D14DD5-1818-DC01-17AE-ABF37E6526C5}"/>
              </a:ext>
            </a:extLst>
          </p:cNvPr>
          <p:cNvSpPr/>
          <p:nvPr/>
        </p:nvSpPr>
        <p:spPr>
          <a:xfrm>
            <a:off x="1389552" y="4456446"/>
            <a:ext cx="2214124" cy="182879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nhance assets</a:t>
            </a:r>
          </a:p>
          <a:p>
            <a:pPr algn="ctr"/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Descriptions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Ow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Lineage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Glossa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Classification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Sensitivity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FF4811E-EB31-25AF-6039-9858AF91489E}"/>
              </a:ext>
            </a:extLst>
          </p:cNvPr>
          <p:cNvSpPr/>
          <p:nvPr/>
        </p:nvSpPr>
        <p:spPr>
          <a:xfrm>
            <a:off x="1162382" y="1763504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Domain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99F0984-8DF3-B196-27BD-BF347BEFB621}"/>
              </a:ext>
            </a:extLst>
          </p:cNvPr>
          <p:cNvSpPr/>
          <p:nvPr/>
        </p:nvSpPr>
        <p:spPr>
          <a:xfrm>
            <a:off x="1162382" y="2360333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Collection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6F724D0-81FD-CC25-DC48-17572C35D967}"/>
              </a:ext>
            </a:extLst>
          </p:cNvPr>
          <p:cNvSpPr/>
          <p:nvPr/>
        </p:nvSpPr>
        <p:spPr>
          <a:xfrm>
            <a:off x="1133606" y="2943722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gister Sources</a:t>
            </a:r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4F453E81-CE09-5A39-06A3-CC41272FA766}"/>
              </a:ext>
            </a:extLst>
          </p:cNvPr>
          <p:cNvSpPr/>
          <p:nvPr/>
        </p:nvSpPr>
        <p:spPr>
          <a:xfrm>
            <a:off x="2226296" y="2194825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0995F144-A410-ED74-AEDD-4E93F7DB15DE}"/>
              </a:ext>
            </a:extLst>
          </p:cNvPr>
          <p:cNvSpPr/>
          <p:nvPr/>
        </p:nvSpPr>
        <p:spPr>
          <a:xfrm>
            <a:off x="2217669" y="2778214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own Arrow 13">
            <a:extLst>
              <a:ext uri="{FF2B5EF4-FFF2-40B4-BE49-F238E27FC236}">
                <a16:creationId xmlns:a16="http://schemas.microsoft.com/office/drawing/2014/main" id="{1C0AAEAB-E2E8-8945-D08F-511BFE6B6D72}"/>
              </a:ext>
            </a:extLst>
          </p:cNvPr>
          <p:cNvSpPr/>
          <p:nvPr/>
        </p:nvSpPr>
        <p:spPr>
          <a:xfrm>
            <a:off x="2211908" y="3375043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0BACBC5B-5ECD-4784-DFD8-15CEDA01B923}"/>
              </a:ext>
            </a:extLst>
          </p:cNvPr>
          <p:cNvSpPr/>
          <p:nvPr/>
        </p:nvSpPr>
        <p:spPr>
          <a:xfrm>
            <a:off x="6663160" y="1678904"/>
            <a:ext cx="2691384" cy="59867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stablish Governance Domains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2A1A502C-F0DF-7D06-C6EB-F4B90FD15492}"/>
              </a:ext>
            </a:extLst>
          </p:cNvPr>
          <p:cNvSpPr/>
          <p:nvPr/>
        </p:nvSpPr>
        <p:spPr>
          <a:xfrm>
            <a:off x="6663160" y="2478877"/>
            <a:ext cx="2691384" cy="43132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stablish Data Products</a:t>
            </a:r>
          </a:p>
        </p:txBody>
      </p:sp>
      <p:sp>
        <p:nvSpPr>
          <p:cNvPr id="17" name="Down Arrow 16">
            <a:extLst>
              <a:ext uri="{FF2B5EF4-FFF2-40B4-BE49-F238E27FC236}">
                <a16:creationId xmlns:a16="http://schemas.microsoft.com/office/drawing/2014/main" id="{0CC05C15-4418-DDBE-6C81-ED0823EB1D2C}"/>
              </a:ext>
            </a:extLst>
          </p:cNvPr>
          <p:cNvSpPr/>
          <p:nvPr/>
        </p:nvSpPr>
        <p:spPr>
          <a:xfrm>
            <a:off x="7941273" y="2277579"/>
            <a:ext cx="135158" cy="20129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30D0A6CB-59AB-74E8-0002-49F1009ECE10}"/>
              </a:ext>
            </a:extLst>
          </p:cNvPr>
          <p:cNvSpPr/>
          <p:nvPr/>
        </p:nvSpPr>
        <p:spPr>
          <a:xfrm>
            <a:off x="6663160" y="3111497"/>
            <a:ext cx="2691384" cy="84380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Connect </a:t>
            </a:r>
            <a:r>
              <a:rPr lang="en-US" b="1" i="1" u="sng">
                <a:solidFill>
                  <a:srgbClr val="FFFF00"/>
                </a:solidFill>
              </a:rPr>
              <a:t>assets</a:t>
            </a:r>
            <a:r>
              <a:rPr lang="en-US">
                <a:solidFill>
                  <a:srgbClr val="FFFDF9"/>
                </a:solidFill>
              </a:rPr>
              <a:t> to Data Products -&gt; Governed assets</a:t>
            </a:r>
          </a:p>
        </p:txBody>
      </p:sp>
      <p:sp>
        <p:nvSpPr>
          <p:cNvPr id="19" name="Down Arrow 18">
            <a:extLst>
              <a:ext uri="{FF2B5EF4-FFF2-40B4-BE49-F238E27FC236}">
                <a16:creationId xmlns:a16="http://schemas.microsoft.com/office/drawing/2014/main" id="{4B7DFA29-CDB8-269A-A23C-FC17A1FB2E2B}"/>
              </a:ext>
            </a:extLst>
          </p:cNvPr>
          <p:cNvSpPr/>
          <p:nvPr/>
        </p:nvSpPr>
        <p:spPr>
          <a:xfrm>
            <a:off x="7941273" y="2914266"/>
            <a:ext cx="135158" cy="20129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99DC9B95-4F77-A7F4-944C-F16E09840C05}"/>
              </a:ext>
            </a:extLst>
          </p:cNvPr>
          <p:cNvSpPr/>
          <p:nvPr/>
        </p:nvSpPr>
        <p:spPr>
          <a:xfrm>
            <a:off x="6901790" y="4431775"/>
            <a:ext cx="2214124" cy="209965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nhance data product</a:t>
            </a:r>
          </a:p>
          <a:p>
            <a:pPr algn="ctr"/>
            <a:endParaRPr lang="en-US" sz="700">
              <a:solidFill>
                <a:srgbClr val="FFFDF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FFFDF9"/>
                </a:solidFill>
              </a:rPr>
              <a:t>Ow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FFFDF9"/>
                </a:solidFill>
              </a:rPr>
              <a:t>Glossa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FFFDF9"/>
                </a:solidFill>
              </a:rPr>
              <a:t>OK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err="1">
                <a:solidFill>
                  <a:srgbClr val="FFFDF9"/>
                </a:solidFill>
              </a:rPr>
              <a:t>Critial</a:t>
            </a:r>
            <a:r>
              <a:rPr lang="en-US" sz="1200">
                <a:solidFill>
                  <a:srgbClr val="FFFDF9"/>
                </a:solidFill>
              </a:rPr>
              <a:t> Data ele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FFFDF9"/>
                </a:solidFill>
              </a:rPr>
              <a:t>Data Acc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>
              <a:solidFill>
                <a:srgbClr val="FFFDF9"/>
              </a:solidFill>
            </a:endParaRPr>
          </a:p>
        </p:txBody>
      </p:sp>
      <p:sp>
        <p:nvSpPr>
          <p:cNvPr id="21" name="Down Arrow 20">
            <a:extLst>
              <a:ext uri="{FF2B5EF4-FFF2-40B4-BE49-F238E27FC236}">
                <a16:creationId xmlns:a16="http://schemas.microsoft.com/office/drawing/2014/main" id="{AFA5368D-4492-30C0-2E8E-D0C86FAFA2BA}"/>
              </a:ext>
            </a:extLst>
          </p:cNvPr>
          <p:cNvSpPr/>
          <p:nvPr/>
        </p:nvSpPr>
        <p:spPr>
          <a:xfrm>
            <a:off x="7873694" y="3951233"/>
            <a:ext cx="135158" cy="480541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AAEDCD3A-3026-2C14-E443-A2F5D398E477}"/>
              </a:ext>
            </a:extLst>
          </p:cNvPr>
          <p:cNvSpPr/>
          <p:nvPr/>
        </p:nvSpPr>
        <p:spPr>
          <a:xfrm>
            <a:off x="1162383" y="3587988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</a:t>
            </a:r>
            <a:r>
              <a:rPr lang="en-US" b="1" i="1" u="sng">
                <a:solidFill>
                  <a:srgbClr val="FFFF00"/>
                </a:solidFill>
              </a:rPr>
              <a:t>asse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5C0A37A-E1BA-5B93-4E9E-998F27F3633C}"/>
              </a:ext>
            </a:extLst>
          </p:cNvPr>
          <p:cNvSpPr/>
          <p:nvPr/>
        </p:nvSpPr>
        <p:spPr>
          <a:xfrm>
            <a:off x="4589776" y="1678904"/>
            <a:ext cx="495946" cy="45816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400"/>
              <a:t>Data Map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AF0949D-FDDD-BB2F-5DFE-3F22CC9E4BC2}"/>
              </a:ext>
            </a:extLst>
          </p:cNvPr>
          <p:cNvSpPr/>
          <p:nvPr/>
        </p:nvSpPr>
        <p:spPr>
          <a:xfrm>
            <a:off x="5134394" y="1672579"/>
            <a:ext cx="495946" cy="45816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2400">
                <a:solidFill>
                  <a:srgbClr val="FFFDF9"/>
                </a:solidFill>
              </a:rPr>
              <a:t>Unified Catalog</a:t>
            </a:r>
          </a:p>
        </p:txBody>
      </p:sp>
      <p:sp>
        <p:nvSpPr>
          <p:cNvPr id="27" name="Down Arrow 26">
            <a:extLst>
              <a:ext uri="{FF2B5EF4-FFF2-40B4-BE49-F238E27FC236}">
                <a16:creationId xmlns:a16="http://schemas.microsoft.com/office/drawing/2014/main" id="{036C2D18-8C7D-949B-5A6C-6C69A4B43310}"/>
              </a:ext>
            </a:extLst>
          </p:cNvPr>
          <p:cNvSpPr/>
          <p:nvPr/>
        </p:nvSpPr>
        <p:spPr>
          <a:xfrm rot="5400000">
            <a:off x="4011726" y="3709733"/>
            <a:ext cx="789248" cy="50735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Down Arrow 27">
            <a:extLst>
              <a:ext uri="{FF2B5EF4-FFF2-40B4-BE49-F238E27FC236}">
                <a16:creationId xmlns:a16="http://schemas.microsoft.com/office/drawing/2014/main" id="{17FAB29D-881E-F9C1-712E-EFFA0A84AFAE}"/>
              </a:ext>
            </a:extLst>
          </p:cNvPr>
          <p:cNvSpPr/>
          <p:nvPr/>
        </p:nvSpPr>
        <p:spPr>
          <a:xfrm rot="16200000">
            <a:off x="5459587" y="3728933"/>
            <a:ext cx="789248" cy="50735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520237A-5E3A-D22C-DBCA-2373B7D4E0EF}"/>
              </a:ext>
            </a:extLst>
          </p:cNvPr>
          <p:cNvSpPr/>
          <p:nvPr/>
        </p:nvSpPr>
        <p:spPr>
          <a:xfrm>
            <a:off x="1105980" y="974532"/>
            <a:ext cx="2398144" cy="431321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nstallation</a:t>
            </a:r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11155FCA-3E6F-4E4E-A836-B3A5F2AB7D09}"/>
              </a:ext>
            </a:extLst>
          </p:cNvPr>
          <p:cNvSpPr/>
          <p:nvPr/>
        </p:nvSpPr>
        <p:spPr>
          <a:xfrm rot="10800000" flipH="1" flipV="1">
            <a:off x="2173747" y="1338903"/>
            <a:ext cx="262609" cy="431321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71B53FC-A64E-A070-367B-A4FC1572251B}"/>
              </a:ext>
            </a:extLst>
          </p:cNvPr>
          <p:cNvCxnSpPr>
            <a:cxnSpLocks/>
          </p:cNvCxnSpPr>
          <p:nvPr/>
        </p:nvCxnSpPr>
        <p:spPr>
          <a:xfrm flipH="1">
            <a:off x="3082565" y="3375043"/>
            <a:ext cx="4656841" cy="49937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368C9903-8D83-3C06-59F0-F4C2C8015D53}"/>
              </a:ext>
            </a:extLst>
          </p:cNvPr>
          <p:cNvSpPr/>
          <p:nvPr/>
        </p:nvSpPr>
        <p:spPr>
          <a:xfrm>
            <a:off x="9916358" y="4924554"/>
            <a:ext cx="1933903" cy="111409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dvanced</a:t>
            </a:r>
          </a:p>
          <a:p>
            <a:pPr algn="ctr"/>
            <a:r>
              <a:rPr lang="en-US" sz="1200"/>
              <a:t>Api’s</a:t>
            </a:r>
          </a:p>
          <a:p>
            <a:pPr algn="ctr"/>
            <a:r>
              <a:rPr lang="en-US" sz="1200"/>
              <a:t>Workflows</a:t>
            </a:r>
          </a:p>
          <a:p>
            <a:pPr algn="ctr"/>
            <a:r>
              <a:rPr lang="en-US" sz="1200"/>
              <a:t>Enforcement of rights</a:t>
            </a:r>
          </a:p>
        </p:txBody>
      </p:sp>
    </p:spTree>
    <p:extLst>
      <p:ext uri="{BB962C8B-B14F-4D97-AF65-F5344CB8AC3E}">
        <p14:creationId xmlns:p14="http://schemas.microsoft.com/office/powerpoint/2010/main" val="7933746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61EFF43-4CBF-D960-EE2D-2049430251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807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05923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A9B061-84F4-7703-3367-B2C4F53D55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888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7381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A09AE09-C933-8A84-8724-ABC1E19CC6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162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49297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C480218-F8EA-5D04-D6BB-2DFDBE7069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807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11681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2493F66-8480-032F-FF0F-90805FECF6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339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2361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E12662-4981-009E-6BE3-F82D1189BA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0FCB53C-99F6-5084-F8C2-8EE39F746B8E}"/>
              </a:ext>
            </a:extLst>
          </p:cNvPr>
          <p:cNvSpPr txBox="1"/>
          <p:nvPr/>
        </p:nvSpPr>
        <p:spPr>
          <a:xfrm>
            <a:off x="3792071" y="2985247"/>
            <a:ext cx="15849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products</a:t>
            </a:r>
          </a:p>
        </p:txBody>
      </p:sp>
    </p:spTree>
    <p:extLst>
      <p:ext uri="{BB962C8B-B14F-4D97-AF65-F5344CB8AC3E}">
        <p14:creationId xmlns:p14="http://schemas.microsoft.com/office/powerpoint/2010/main" val="120904675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773CE37-CDBE-C90F-764A-35A7C5560C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883" y="1519608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40103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D52E63-D090-AA99-E140-00E3A171EC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532" y="1519608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06780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277F05C-45EE-6E29-CAB5-9D6C90017D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635" y="1519608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63092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3930739-62F1-EE82-2203-B84ABADE95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1519608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4479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998636-36E2-2FD7-8F92-0A06AF4C57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6A586E7-4FFD-06DE-B105-5BD947D7A95D}"/>
              </a:ext>
            </a:extLst>
          </p:cNvPr>
          <p:cNvSpPr txBox="1"/>
          <p:nvPr/>
        </p:nvSpPr>
        <p:spPr>
          <a:xfrm>
            <a:off x="5185458" y="2615877"/>
            <a:ext cx="667362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>
                <a:latin typeface="Segoe UI" panose="020B0502040204020203" pitchFamily="34" charset="0"/>
                <a:cs typeface="Segoe UI" panose="020B0502040204020203" pitchFamily="34" charset="0"/>
              </a:rPr>
              <a:t>Establish the Unified Catalog</a:t>
            </a:r>
            <a:endParaRPr lang="en-US" sz="4000" b="1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399DC5-6D0E-48B7-8BEA-9655A9D7B4CD}"/>
              </a:ext>
            </a:extLst>
          </p:cNvPr>
          <p:cNvSpPr txBox="1"/>
          <p:nvPr/>
        </p:nvSpPr>
        <p:spPr>
          <a:xfrm>
            <a:off x="106100" y="6331848"/>
            <a:ext cx="20004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2"/>
                </a:solidFill>
              </a:rPr>
              <a:t>Unified Catalog</a:t>
            </a:r>
            <a:endParaRPr lang="en-US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0820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1EB6BDE-6BE3-4709-B108-AB9D723B7A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162" y="1519608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28144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A47983E-3E75-AC2F-5031-6369A0D92B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259" y="1653172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3785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2FE75D3-6DFF-2C26-AA4D-CB6BD2A0EF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807" y="1519608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18869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2333893-F1A8-01B7-0CB4-2A0598DD59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711" y="1519608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59681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AA81F63-361A-3918-049E-053258D3E2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613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6719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9A78F37-C32A-A250-BAB5-D69B5ADB52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613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0883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B526714-D89C-96C5-7B71-29B8BDA959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161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80652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8713AC0-FB6A-9A31-F167-87677D93FD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984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6141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9A1692F-52D4-CDF2-4CC6-06C16A2420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420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09633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20C01E2-E935-9C67-BCA4-52C601B1DD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614" y="1537260"/>
            <a:ext cx="7772400" cy="378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3997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8A4F3FF-FEF5-65FF-F619-F7D841AA4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490" y="972064"/>
            <a:ext cx="2785887" cy="553492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FAFBF03-1226-9BF2-60D6-1AB245389B80}"/>
              </a:ext>
            </a:extLst>
          </p:cNvPr>
          <p:cNvSpPr txBox="1"/>
          <p:nvPr/>
        </p:nvSpPr>
        <p:spPr>
          <a:xfrm>
            <a:off x="344490" y="443821"/>
            <a:ext cx="3618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The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 Unified Catalog Purview</a:t>
            </a:r>
            <a:r>
              <a:rPr lang="en-US" b="1" dirty="0"/>
              <a:t> menu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80D736-4705-628F-9201-9F6AF9A56CA3}"/>
              </a:ext>
            </a:extLst>
          </p:cNvPr>
          <p:cNvSpPr txBox="1"/>
          <p:nvPr/>
        </p:nvSpPr>
        <p:spPr>
          <a:xfrm>
            <a:off x="4680066" y="1288981"/>
            <a:ext cx="51504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iscovery</a:t>
            </a:r>
            <a:r>
              <a:rPr lang="en-US" dirty="0"/>
              <a:t> contains the search options for Purview.</a:t>
            </a:r>
            <a:br>
              <a:rPr lang="en-US" dirty="0"/>
            </a:br>
            <a:r>
              <a:rPr lang="en-US" sz="1400" i="1" dirty="0"/>
              <a:t>Note that data assets from the Data Map is in this menu part </a:t>
            </a:r>
            <a:endParaRPr lang="en-US" i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597B811-3172-9890-6624-FA22F4E152AD}"/>
              </a:ext>
            </a:extLst>
          </p:cNvPr>
          <p:cNvSpPr txBox="1"/>
          <p:nvPr/>
        </p:nvSpPr>
        <p:spPr>
          <a:xfrm>
            <a:off x="4680066" y="2356592"/>
            <a:ext cx="534255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der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Catalog management</a:t>
            </a:r>
            <a:r>
              <a:rPr lang="en-US"/>
              <a:t> you will find what is the</a:t>
            </a:r>
          </a:p>
          <a:p>
            <a:r>
              <a:rPr lang="en-US" i="1"/>
              <a:t>Unified catalog </a:t>
            </a:r>
            <a:r>
              <a:rPr lang="en-US"/>
              <a:t>and its content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AD65EE-8ED3-6C70-82EA-4223F1600184}"/>
              </a:ext>
            </a:extLst>
          </p:cNvPr>
          <p:cNvSpPr txBox="1"/>
          <p:nvPr/>
        </p:nvSpPr>
        <p:spPr>
          <a:xfrm>
            <a:off x="4680066" y="3485759"/>
            <a:ext cx="60796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Health management </a:t>
            </a:r>
            <a:r>
              <a:rPr lang="en-US"/>
              <a:t>has the reporting and quality items for</a:t>
            </a:r>
          </a:p>
          <a:p>
            <a:r>
              <a:rPr lang="en-US"/>
              <a:t>the </a:t>
            </a:r>
            <a:r>
              <a:rPr lang="en-US" i="1"/>
              <a:t>Unified catalog </a:t>
            </a:r>
            <a:r>
              <a:rPr lang="en-US"/>
              <a:t>and its content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6B9F61-7EA3-C28E-6908-0444C828535D}"/>
              </a:ext>
            </a:extLst>
          </p:cNvPr>
          <p:cNvSpPr txBox="1"/>
          <p:nvPr/>
        </p:nvSpPr>
        <p:spPr>
          <a:xfrm>
            <a:off x="4680066" y="4614926"/>
            <a:ext cx="60796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Process automation </a:t>
            </a:r>
            <a:r>
              <a:rPr lang="en-US"/>
              <a:t>has one item being workflow where you can assign approval workflows etc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91274E5-9697-476B-B88F-DAACDB805015}"/>
              </a:ext>
            </a:extLst>
          </p:cNvPr>
          <p:cNvSpPr txBox="1"/>
          <p:nvPr/>
        </p:nvSpPr>
        <p:spPr>
          <a:xfrm>
            <a:off x="4680066" y="5744094"/>
            <a:ext cx="60796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Request and approvals </a:t>
            </a:r>
            <a:r>
              <a:rPr lang="en-US" dirty="0"/>
              <a:t>is where you will find any request needed to be handled along with the request already processed.</a:t>
            </a:r>
          </a:p>
        </p:txBody>
      </p:sp>
      <p:sp>
        <p:nvSpPr>
          <p:cNvPr id="9" name="Down Arrow 8">
            <a:extLst>
              <a:ext uri="{FF2B5EF4-FFF2-40B4-BE49-F238E27FC236}">
                <a16:creationId xmlns:a16="http://schemas.microsoft.com/office/drawing/2014/main" id="{2978FCA8-CA27-AD47-71B4-4A3D0315C31B}"/>
              </a:ext>
            </a:extLst>
          </p:cNvPr>
          <p:cNvSpPr/>
          <p:nvPr/>
        </p:nvSpPr>
        <p:spPr>
          <a:xfrm rot="5061098" flipH="1">
            <a:off x="2942562" y="22607"/>
            <a:ext cx="160485" cy="3314822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own Arrow 9">
            <a:extLst>
              <a:ext uri="{FF2B5EF4-FFF2-40B4-BE49-F238E27FC236}">
                <a16:creationId xmlns:a16="http://schemas.microsoft.com/office/drawing/2014/main" id="{55DD5065-E686-7E24-179F-187131A07E12}"/>
              </a:ext>
            </a:extLst>
          </p:cNvPr>
          <p:cNvSpPr/>
          <p:nvPr/>
        </p:nvSpPr>
        <p:spPr>
          <a:xfrm rot="5045106" flipH="1">
            <a:off x="3178934" y="1216509"/>
            <a:ext cx="160485" cy="2865506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837AB5D4-3448-F238-7F37-C18089733C24}"/>
              </a:ext>
            </a:extLst>
          </p:cNvPr>
          <p:cNvSpPr/>
          <p:nvPr/>
        </p:nvSpPr>
        <p:spPr>
          <a:xfrm rot="4757342" flipH="1">
            <a:off x="3188466" y="2558247"/>
            <a:ext cx="160485" cy="2865506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7F441E2E-5961-ED8E-C5AD-6A1AD41D67F5}"/>
              </a:ext>
            </a:extLst>
          </p:cNvPr>
          <p:cNvSpPr/>
          <p:nvPr/>
        </p:nvSpPr>
        <p:spPr>
          <a:xfrm rot="4597446" flipH="1">
            <a:off x="3176485" y="3676571"/>
            <a:ext cx="160485" cy="3059003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67752D57-563D-9A21-2E6D-E9AFCEF1A377}"/>
              </a:ext>
            </a:extLst>
          </p:cNvPr>
          <p:cNvSpPr/>
          <p:nvPr/>
        </p:nvSpPr>
        <p:spPr>
          <a:xfrm rot="4901977" flipH="1">
            <a:off x="3270067" y="4713221"/>
            <a:ext cx="160483" cy="2805784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06534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5E4F8E1-CC91-1AFE-4ED7-3765CBF8D8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791" y="1537260"/>
            <a:ext cx="7772400" cy="378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33125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7F82973-B3B1-9A34-E540-09D1786D3D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146" y="1537260"/>
            <a:ext cx="7772400" cy="378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55147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E8DB76-8DD6-F701-075F-7C56ADECAF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872" y="1537260"/>
            <a:ext cx="7772400" cy="378348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E08E704-7C04-36D2-9C9E-D23824282D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7362" y="760287"/>
            <a:ext cx="1656695" cy="1848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64533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031D4B1-103A-C9CF-F739-9F6A45930C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339" y="1537260"/>
            <a:ext cx="7772400" cy="378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71760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3BD860E-FCE3-577C-D2B2-240908C384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969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78377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7D8041B-C63F-2401-8F9A-C9FC0CC31C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50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97584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77662D8-5016-F37E-435B-A49540B42F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146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6910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23A6DB-0BD7-5CBD-70EC-FDA7D24F5D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872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35126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5B1AD0C-6BC0-0D2E-F5A3-B3BC8E3C83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96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642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086BC31-C651-2044-084E-5DF0F7902E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695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090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3FE3664-D5A8-B15D-55B7-894A549FB42F}"/>
              </a:ext>
            </a:extLst>
          </p:cNvPr>
          <p:cNvSpPr txBox="1"/>
          <p:nvPr/>
        </p:nvSpPr>
        <p:spPr>
          <a:xfrm>
            <a:off x="6575323" y="2924035"/>
            <a:ext cx="260847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Discovery</a:t>
            </a:r>
          </a:p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Search capabilities</a:t>
            </a:r>
          </a:p>
        </p:txBody>
      </p:sp>
    </p:spTree>
    <p:extLst>
      <p:ext uri="{BB962C8B-B14F-4D97-AF65-F5344CB8AC3E}">
        <p14:creationId xmlns:p14="http://schemas.microsoft.com/office/powerpoint/2010/main" val="381817611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E4B7D80-F00B-A204-9FE6-21B6839E1A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671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10490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8AC911B-4297-01FC-A822-73A968EDB4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812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73416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A447FA9-C965-92DB-C9AB-AF24C13701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32830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C4E943B-250E-F4ED-9B95-16C7CB82EE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847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37039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B46CEE9-50BF-A0DB-D5F3-6B666247A5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024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04002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13CA84-B8B9-A4CA-8C16-EA0704B054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C08C4F2-1DA6-B0E3-CA31-51A041065DD1}"/>
              </a:ext>
            </a:extLst>
          </p:cNvPr>
          <p:cNvSpPr txBox="1"/>
          <p:nvPr/>
        </p:nvSpPr>
        <p:spPr>
          <a:xfrm>
            <a:off x="5774076" y="3174715"/>
            <a:ext cx="1412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Quality</a:t>
            </a:r>
          </a:p>
        </p:txBody>
      </p:sp>
    </p:spTree>
    <p:extLst>
      <p:ext uri="{BB962C8B-B14F-4D97-AF65-F5344CB8AC3E}">
        <p14:creationId xmlns:p14="http://schemas.microsoft.com/office/powerpoint/2010/main" val="328088397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F61A311-9AB3-7AD6-0EA3-9898B393A8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324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45649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B566E76-D6A7-B4B2-8D15-BC318E13E1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695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29066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FB18F9F-0330-4302-7CD0-EF938A8A85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9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46785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1DB86F2-0A1A-21CD-3A6F-D616DB3B56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872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9412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C25884F-2BE9-4682-4596-1195878D6E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714" y="1540028"/>
            <a:ext cx="7772400" cy="397565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CBC6170-D042-9AC6-65F5-B7DA0E197D02}"/>
              </a:ext>
            </a:extLst>
          </p:cNvPr>
          <p:cNvSpPr txBox="1"/>
          <p:nvPr/>
        </p:nvSpPr>
        <p:spPr>
          <a:xfrm>
            <a:off x="344490" y="443821"/>
            <a:ext cx="24642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arch – data product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DD2318-3AF0-EBFC-9070-A323B6F3B560}"/>
              </a:ext>
            </a:extLst>
          </p:cNvPr>
          <p:cNvSpPr txBox="1"/>
          <p:nvPr/>
        </p:nvSpPr>
        <p:spPr>
          <a:xfrm>
            <a:off x="7307640" y="2017726"/>
            <a:ext cx="4478645" cy="3139321"/>
          </a:xfrm>
          <a:prstGeom prst="rect">
            <a:avLst/>
          </a:prstGeom>
          <a:solidFill>
            <a:srgbClr val="FFFDF9">
              <a:alpha val="66000"/>
            </a:srgb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Here you can search your data products.</a:t>
            </a:r>
          </a:p>
          <a:p>
            <a:endParaRPr lang="en-US" dirty="0"/>
          </a:p>
          <a:p>
            <a:r>
              <a:rPr lang="en-US" dirty="0"/>
              <a:t>This can either be done using words,</a:t>
            </a:r>
          </a:p>
          <a:p>
            <a:r>
              <a:rPr lang="en-US" dirty="0"/>
              <a:t>clicking a published governance domain or</a:t>
            </a:r>
          </a:p>
          <a:p>
            <a:r>
              <a:rPr lang="en-US" dirty="0"/>
              <a:t>using natural language.</a:t>
            </a:r>
          </a:p>
          <a:p>
            <a:endParaRPr lang="en-US" dirty="0"/>
          </a:p>
          <a:p>
            <a:r>
              <a:rPr lang="en-US" dirty="0"/>
              <a:t>To use natural language, you need to click here.</a:t>
            </a:r>
          </a:p>
          <a:p>
            <a:endParaRPr lang="en-US" dirty="0"/>
          </a:p>
          <a:p>
            <a:r>
              <a:rPr lang="en-US" dirty="0"/>
              <a:t>Clicking a governance domain brings you to the data products in the domain.</a:t>
            </a:r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F1F6898E-0365-93E3-A770-8129AF7E55E7}"/>
              </a:ext>
            </a:extLst>
          </p:cNvPr>
          <p:cNvSpPr/>
          <p:nvPr/>
        </p:nvSpPr>
        <p:spPr>
          <a:xfrm rot="14242807">
            <a:off x="5952901" y="3226216"/>
            <a:ext cx="1849337" cy="142639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6341A11-A470-A122-63B0-5B03D97A5838}"/>
              </a:ext>
            </a:extLst>
          </p:cNvPr>
          <p:cNvSpPr/>
          <p:nvPr/>
        </p:nvSpPr>
        <p:spPr>
          <a:xfrm>
            <a:off x="405714" y="2335876"/>
            <a:ext cx="1356584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41340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9602E59-2760-B40C-3B82-7EF6F64C4C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75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0360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1DFA5A0-5103-13F6-8423-7A3ACC490E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220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72399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1CA9D2F-CD07-9412-0448-D2C8347DDC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436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62661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50BDB5D-865E-B197-1D63-D17E9B8535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96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62392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FF5B9F9-1385-34AF-0733-8435A52E89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96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64334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0DB23E2-2883-8E2B-275E-3CAE9E8801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9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0514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784AF30-0889-0168-F17F-1935FFA1C0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694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19279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BB779E-5940-BAFD-D618-D42B173A55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741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335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7B0962C-CD51-8EE2-7CA7-44DC021B8E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953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37804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46F04E1-E5C4-FECC-AF09-A644AE08A4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059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4599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CE25F23-2E4D-9E41-6B19-7A0E643F5F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714" y="1441174"/>
            <a:ext cx="7772400" cy="3975652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43E6A744-54D3-66B3-5447-FD06F624278B}"/>
              </a:ext>
            </a:extLst>
          </p:cNvPr>
          <p:cNvSpPr/>
          <p:nvPr/>
        </p:nvSpPr>
        <p:spPr>
          <a:xfrm>
            <a:off x="405714" y="2252749"/>
            <a:ext cx="1356584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64C612-F79C-DF59-15E8-E6F1C7138C90}"/>
              </a:ext>
            </a:extLst>
          </p:cNvPr>
          <p:cNvSpPr txBox="1"/>
          <p:nvPr/>
        </p:nvSpPr>
        <p:spPr>
          <a:xfrm>
            <a:off x="7307640" y="2017726"/>
            <a:ext cx="4478645" cy="3139321"/>
          </a:xfrm>
          <a:prstGeom prst="rect">
            <a:avLst/>
          </a:prstGeom>
          <a:solidFill>
            <a:srgbClr val="FFFDF9">
              <a:alpha val="66000"/>
            </a:srgb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When using natural language for your search, you formulate in your words what it is your looking for.</a:t>
            </a:r>
          </a:p>
          <a:p>
            <a:endParaRPr lang="en-US" dirty="0"/>
          </a:p>
          <a:p>
            <a:r>
              <a:rPr lang="en-US" dirty="0"/>
              <a:t>So, instead how having an idea about what a data product might be called you instead write what it is you are really looking for.</a:t>
            </a:r>
          </a:p>
          <a:p>
            <a:endParaRPr lang="en-US" dirty="0"/>
          </a:p>
          <a:p>
            <a:r>
              <a:rPr lang="en-US" dirty="0"/>
              <a:t>Example (as shown):</a:t>
            </a:r>
            <a:br>
              <a:rPr lang="en-US" dirty="0"/>
            </a:br>
            <a:r>
              <a:rPr lang="en-US" i="1" dirty="0">
                <a:solidFill>
                  <a:schemeClr val="accent1">
                    <a:lumMod val="50000"/>
                  </a:schemeClr>
                </a:solidFill>
              </a:rPr>
              <a:t>I need three years of revenue data from the finance department to analyze sales trends.</a:t>
            </a:r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0DFF49B0-C259-2017-3530-6332EFD7CCD2}"/>
              </a:ext>
            </a:extLst>
          </p:cNvPr>
          <p:cNvSpPr/>
          <p:nvPr/>
        </p:nvSpPr>
        <p:spPr>
          <a:xfrm rot="11694641">
            <a:off x="5471087" y="2608811"/>
            <a:ext cx="1849337" cy="142639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7AC2F1-FE8A-C13A-6572-821091E89E14}"/>
              </a:ext>
            </a:extLst>
          </p:cNvPr>
          <p:cNvSpPr txBox="1"/>
          <p:nvPr/>
        </p:nvSpPr>
        <p:spPr>
          <a:xfrm>
            <a:off x="344490" y="443821"/>
            <a:ext cx="437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arch – data products – natural language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41879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B1B92BC-E90A-06AF-4DEF-A327D5BC99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91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62175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2E6E3F2-1BB2-9051-1B57-64B310CF17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023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68776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0D248A6-F074-6157-1C8A-B23B2AF51A72}"/>
              </a:ext>
            </a:extLst>
          </p:cNvPr>
          <p:cNvSpPr txBox="1"/>
          <p:nvPr/>
        </p:nvSpPr>
        <p:spPr>
          <a:xfrm>
            <a:off x="5774076" y="3174715"/>
            <a:ext cx="9065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olicies</a:t>
            </a:r>
          </a:p>
        </p:txBody>
      </p:sp>
    </p:spTree>
    <p:extLst>
      <p:ext uri="{BB962C8B-B14F-4D97-AF65-F5344CB8AC3E}">
        <p14:creationId xmlns:p14="http://schemas.microsoft.com/office/powerpoint/2010/main" val="28757611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C66AEC1-C6AA-FD56-0122-3B852B4645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049" y="1375271"/>
            <a:ext cx="7772400" cy="397565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F8724FC-CAFC-F6DE-48C9-42F6AD884812}"/>
              </a:ext>
            </a:extLst>
          </p:cNvPr>
          <p:cNvSpPr txBox="1"/>
          <p:nvPr/>
        </p:nvSpPr>
        <p:spPr>
          <a:xfrm>
            <a:off x="7307640" y="2017726"/>
            <a:ext cx="4478645" cy="4247317"/>
          </a:xfrm>
          <a:prstGeom prst="rect">
            <a:avLst/>
          </a:prstGeom>
          <a:solidFill>
            <a:srgbClr val="FFFDF9">
              <a:alpha val="66000"/>
            </a:srgb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The search for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 </a:t>
            </a:r>
            <a:r>
              <a:rPr lang="en-US" dirty="0"/>
              <a:t>is also located in the discovery menu under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Unified catalog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Here you search using words.</a:t>
            </a: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dirty="0"/>
              <a:t>You can also click the </a:t>
            </a:r>
            <a:r>
              <a:rPr lang="en-US" i="1" dirty="0">
                <a:solidFill>
                  <a:schemeClr val="accent1">
                    <a:lumMod val="50000"/>
                  </a:schemeClr>
                </a:solidFill>
              </a:rPr>
              <a:t>explore </a:t>
            </a:r>
            <a:r>
              <a:rPr lang="en-US" dirty="0"/>
              <a:t>options where you can find assets related to one the following o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accent1">
                    <a:lumMod val="50000"/>
                  </a:schemeClr>
                </a:solidFill>
              </a:rPr>
              <a:t>Az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accent1">
                    <a:lumMod val="50000"/>
                  </a:schemeClr>
                </a:solidFill>
              </a:rPr>
              <a:t>Fabr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accent1">
                    <a:lumMod val="50000"/>
                  </a:schemeClr>
                </a:solidFill>
              </a:rPr>
              <a:t>Source ty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accent1">
                    <a:lumMod val="50000"/>
                  </a:schemeClr>
                </a:solidFill>
              </a:rPr>
              <a:t>Collection</a:t>
            </a: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dirty="0"/>
              <a:t>Purview also show recent found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 </a:t>
            </a:r>
            <a:r>
              <a:rPr lang="en-US" dirty="0"/>
              <a:t>under </a:t>
            </a:r>
            <a:r>
              <a:rPr lang="en-US" i="1" dirty="0">
                <a:solidFill>
                  <a:schemeClr val="accent1">
                    <a:lumMod val="50000"/>
                  </a:schemeClr>
                </a:solidFill>
              </a:rPr>
              <a:t>Quick access.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7D5CD191-0BBE-127F-F7EB-986D38A4D4F7}"/>
              </a:ext>
            </a:extLst>
          </p:cNvPr>
          <p:cNvSpPr/>
          <p:nvPr/>
        </p:nvSpPr>
        <p:spPr>
          <a:xfrm>
            <a:off x="405714" y="2335876"/>
            <a:ext cx="1356584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9259F9-8796-5DBE-ED94-EA7DFF159F75}"/>
              </a:ext>
            </a:extLst>
          </p:cNvPr>
          <p:cNvSpPr txBox="1"/>
          <p:nvPr/>
        </p:nvSpPr>
        <p:spPr>
          <a:xfrm>
            <a:off x="344490" y="443821"/>
            <a:ext cx="41072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arch – data assets from the data map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8002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s">
  <a:themeElements>
    <a:clrScheme name="Custom 1">
      <a:dk1>
        <a:srgbClr val="225B61"/>
      </a:dk1>
      <a:lt1>
        <a:srgbClr val="000000"/>
      </a:lt1>
      <a:dk2>
        <a:srgbClr val="B9DCD2"/>
      </a:dk2>
      <a:lt2>
        <a:srgbClr val="49C5B1"/>
      </a:lt2>
      <a:accent1>
        <a:srgbClr val="8DE971"/>
      </a:accent1>
      <a:accent2>
        <a:srgbClr val="0078D3"/>
      </a:accent2>
      <a:accent3>
        <a:srgbClr val="8661C5"/>
      </a:accent3>
      <a:accent4>
        <a:srgbClr val="C03BC3"/>
      </a:accent4>
      <a:accent5>
        <a:srgbClr val="FFB900"/>
      </a:accent5>
      <a:accent6>
        <a:srgbClr val="F3364C"/>
      </a:accent6>
      <a:hlink>
        <a:srgbClr val="225B61"/>
      </a:hlink>
      <a:folHlink>
        <a:srgbClr val="8DC8E8"/>
      </a:folHlink>
    </a:clrScheme>
    <a:fontScheme name="Custom 20">
      <a:majorFont>
        <a:latin typeface="Segoe Sans Display"/>
        <a:ea typeface=""/>
        <a:cs typeface=""/>
      </a:majorFont>
      <a:minorFont>
        <a:latin typeface="Segoe Sans Text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2Color _Microsoft Fabric Master Slide Template PPT" id="{C4955310-1F75-CB41-AE88-3C74BC568F8B}" vid="{D64952BC-5741-F749-9CC7-11175F2699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6D235E0236944CB2D0154C00AD9253" ma:contentTypeVersion="26" ma:contentTypeDescription="Create a new document." ma:contentTypeScope="" ma:versionID="41aa48f0d0fcd022d15edc1db881b801">
  <xsd:schema xmlns:xsd="http://www.w3.org/2001/XMLSchema" xmlns:xs="http://www.w3.org/2001/XMLSchema" xmlns:p="http://schemas.microsoft.com/office/2006/metadata/properties" xmlns:ns1="http://schemas.microsoft.com/sharepoint/v3" xmlns:ns2="07c5dfa0-33a3-47dd-bfb7-87fb96739115" xmlns:ns3="b1c3d6fc-5689-40cc-899d-3b916b4ff5bf" xmlns:ns4="230e9df3-be65-4c73-a93b-d1236ebd677e" targetNamespace="http://schemas.microsoft.com/office/2006/metadata/properties" ma:root="true" ma:fieldsID="ad11de25f3f36b6e7a16ba6e6aa81921" ns1:_="" ns2:_="" ns3:_="" ns4:_="">
    <xsd:import namespace="http://schemas.microsoft.com/sharepoint/v3"/>
    <xsd:import namespace="07c5dfa0-33a3-47dd-bfb7-87fb96739115"/>
    <xsd:import namespace="b1c3d6fc-5689-40cc-899d-3b916b4ff5bf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Statu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Date" minOccurs="0"/>
                <xsd:element ref="ns2:Time" minOccurs="0"/>
                <xsd:element ref="ns2:test" minOccurs="0"/>
                <xsd:element ref="ns2:MediaServiceLocation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c5dfa0-33a3-47dd-bfb7-87fb967391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8" nillable="true" ma:displayName="Status" ma:format="Dropdown" ma:internalName="Status">
      <xsd:simpleType>
        <xsd:restriction base="dms:Text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Date" ma:index="25" nillable="true" ma:displayName="Date" ma:format="DateOnly" ma:internalName="Date">
      <xsd:simpleType>
        <xsd:restriction base="dms:DateTime"/>
      </xsd:simpleType>
    </xsd:element>
    <xsd:element name="Time" ma:index="26" nillable="true" ma:displayName="Time" ma:format="DateTime" ma:internalName="Time">
      <xsd:simpleType>
        <xsd:restriction base="dms:DateTime"/>
      </xsd:simpleType>
    </xsd:element>
    <xsd:element name="test" ma:index="27" nillable="true" ma:displayName="test" ma:format="DateOnly" ma:internalName="test">
      <xsd:simpleType>
        <xsd:restriction base="dms:DateTime"/>
      </xsd:simpleType>
    </xsd:element>
    <xsd:element name="MediaServiceLocation" ma:index="28" nillable="true" ma:displayName="Location" ma:internalName="MediaServiceLocation" ma:readOnly="true">
      <xsd:simpleType>
        <xsd:restriction base="dms:Text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3d6fc-5689-40cc-899d-3b916b4ff5b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4" nillable="true" ma:displayName="Taxonomy Catch All Column" ma:hidden="true" ma:list="{1603ea5b-56ba-41f6-bada-27c0bbbe9ac1}" ma:internalName="TaxCatchAll" ma:showField="CatchAllData" ma:web="b1c3d6fc-5689-40cc-899d-3b916b4ff5b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b1c3d6fc-5689-40cc-899d-3b916b4ff5bf">
      <UserInfo>
        <DisplayName>Ronald Chang</DisplayName>
        <AccountId>26</AccountId>
        <AccountType/>
      </UserInfo>
      <UserInfo>
        <DisplayName>Ellie Lawler</DisplayName>
        <AccountId>207</AccountId>
        <AccountType/>
      </UserInfo>
      <UserInfo>
        <DisplayName>Miwa Monji</DisplayName>
        <AccountId>136</AccountId>
        <AccountType/>
      </UserInfo>
      <UserInfo>
        <DisplayName>Sharif Islam</DisplayName>
        <AccountId>622</AccountId>
        <AccountType/>
      </UserInfo>
      <UserInfo>
        <DisplayName>Jeeva Akr</DisplayName>
        <AccountId>39</AccountId>
        <AccountType/>
      </UserInfo>
      <UserInfo>
        <DisplayName>Jason Pereira</DisplayName>
        <AccountId>1123</AccountId>
        <AccountType/>
      </UserInfo>
      <UserInfo>
        <DisplayName>Will Johnson (GBB)</DisplayName>
        <AccountId>470</AccountId>
        <AccountType/>
      </UserInfo>
      <UserInfo>
        <DisplayName>Thasmika Gokal</DisplayName>
        <AccountId>142</AccountId>
        <AccountType/>
      </UserInfo>
      <UserInfo>
        <DisplayName>Cillian Mitchell</DisplayName>
        <AccountId>36</AccountId>
        <AccountType/>
      </UserInfo>
      <UserInfo>
        <DisplayName>Rajeev Jain</DisplayName>
        <AccountId>110</AccountId>
        <AccountType/>
      </UserInfo>
      <UserInfo>
        <DisplayName>Nellie Vasiliev (AG Consulting Partners, Inc.)</DisplayName>
        <AccountId>16</AccountId>
        <AccountType/>
      </UserInfo>
      <UserInfo>
        <DisplayName>Binaka Sankaran</DisplayName>
        <AccountId>745</AccountId>
        <AccountType/>
      </UserInfo>
      <UserInfo>
        <DisplayName>Ege Onelcin</DisplayName>
        <AccountId>42</AccountId>
        <AccountType/>
      </UserInfo>
      <UserInfo>
        <DisplayName>Karlien Vanden Eynde</DisplayName>
        <AccountId>18</AccountId>
        <AccountType/>
      </UserInfo>
      <UserInfo>
        <DisplayName>Swetha Mannepalli</DisplayName>
        <AccountId>8</AccountId>
        <AccountType/>
      </UserInfo>
      <UserInfo>
        <DisplayName>Dan Houdek</DisplayName>
        <AccountId>95</AccountId>
        <AccountType/>
      </UserInfo>
      <UserInfo>
        <DisplayName>Carlos Herquinio</DisplayName>
        <AccountId>1441</AccountId>
        <AccountType/>
      </UserInfo>
      <UserInfo>
        <DisplayName>Mohini Verma</DisplayName>
        <AccountId>1442</AccountId>
        <AccountType/>
      </UserInfo>
      <UserInfo>
        <DisplayName>Leighton Searle</DisplayName>
        <AccountId>1427</AccountId>
        <AccountType/>
      </UserInfo>
      <UserInfo>
        <DisplayName>Vaishali Chawan</DisplayName>
        <AccountId>633</AccountId>
        <AccountType/>
      </UserInfo>
      <UserInfo>
        <DisplayName>Tonio Lora</DisplayName>
        <AccountId>673</AccountId>
        <AccountType/>
      </UserInfo>
      <UserInfo>
        <DisplayName>Craig Butler</DisplayName>
        <AccountId>1158</AccountId>
        <AccountType/>
      </UserInfo>
      <UserInfo>
        <DisplayName>Kathrine Lord</DisplayName>
        <AccountId>1443</AccountId>
        <AccountType/>
      </UserInfo>
      <UserInfo>
        <DisplayName>Nilesh Khatri</DisplayName>
        <AccountId>826</AccountId>
        <AccountType/>
      </UserInfo>
      <UserInfo>
        <DisplayName>Mark Chen</DisplayName>
        <AccountId>813</AccountId>
        <AccountType/>
      </UserInfo>
      <UserInfo>
        <DisplayName>Suma Manohar</DisplayName>
        <AccountId>827</AccountId>
        <AccountType/>
      </UserInfo>
      <UserInfo>
        <DisplayName>Mo Lin</DisplayName>
        <AccountId>679</AccountId>
        <AccountType/>
      </UserInfo>
      <UserInfo>
        <DisplayName>Ravikanth Musti</DisplayName>
        <AccountId>639</AccountId>
        <AccountType/>
      </UserInfo>
      <UserInfo>
        <DisplayName>Debananda Ghosh</DisplayName>
        <AccountId>488</AccountId>
        <AccountType/>
      </UserInfo>
      <UserInfo>
        <DisplayName>Sana Sanai</DisplayName>
        <AccountId>825</AccountId>
        <AccountType/>
      </UserInfo>
      <UserInfo>
        <DisplayName>Nazeer Ali Mohammed</DisplayName>
        <AccountId>635</AccountId>
        <AccountType/>
      </UserInfo>
      <UserInfo>
        <DisplayName>Elizabeth Antoine</DisplayName>
        <AccountId>829</AccountId>
        <AccountType/>
      </UserInfo>
      <UserInfo>
        <DisplayName>Amjad Muhammad Khan</DisplayName>
        <AccountId>759</AccountId>
        <AccountType/>
      </UserInfo>
      <UserInfo>
        <DisplayName>Ayman Dabees</DisplayName>
        <AccountId>692</AccountId>
        <AccountType/>
      </UserInfo>
      <UserInfo>
        <DisplayName>Keyuna Evans (CELA)</DisplayName>
        <AccountId>239</AccountId>
        <AccountType/>
      </UserInfo>
      <UserInfo>
        <DisplayName>Nevenka Scott</DisplayName>
        <AccountId>1139</AccountId>
        <AccountType/>
      </UserInfo>
      <UserInfo>
        <DisplayName>Brian Robinson (CELA)</DisplayName>
        <AccountId>988</AccountId>
        <AccountType/>
      </UserInfo>
      <UserInfo>
        <DisplayName>Nicholas Wolfe (CELA)</DisplayName>
        <AccountId>1452</AccountId>
        <AccountType/>
      </UserInfo>
      <UserInfo>
        <DisplayName>Phiania Macpherson</DisplayName>
        <AccountId>1470</AccountId>
        <AccountType/>
      </UserInfo>
      <UserInfo>
        <DisplayName>Tulsi Wansai [Chillibreeze]</DisplayName>
        <AccountId>1419</AccountId>
        <AccountType/>
      </UserInfo>
      <UserInfo>
        <DisplayName>Wangui McKelvey</DisplayName>
        <AccountId>567</AccountId>
        <AccountType/>
      </UserInfo>
      <UserInfo>
        <DisplayName>Jermey Evans (CW)</DisplayName>
        <AccountId>644</AccountId>
        <AccountType/>
      </UserInfo>
      <UserInfo>
        <DisplayName>Macy Byerly</DisplayName>
        <AccountId>1617</AccountId>
        <AccountType/>
      </UserInfo>
      <UserInfo>
        <DisplayName>Rachel Bshero</DisplayName>
        <AccountId>573</AccountId>
        <AccountType/>
      </UserInfo>
      <UserInfo>
        <DisplayName>Lauren Ward</DisplayName>
        <AccountId>345</AccountId>
        <AccountType/>
      </UserInfo>
      <UserInfo>
        <DisplayName>Tyler Mays-Childers (he/him)</DisplayName>
        <AccountId>33</AccountId>
        <AccountType/>
      </UserInfo>
      <UserInfo>
        <DisplayName>Katherine Smiley (We Are Rosie LLC)</DisplayName>
        <AccountId>1341</AccountId>
        <AccountType/>
      </UserInfo>
    </SharedWithUsers>
    <TaxCatchAll xmlns="230e9df3-be65-4c73-a93b-d1236ebd677e" xsi:nil="true"/>
    <lcf76f155ced4ddcb4097134ff3c332f xmlns="07c5dfa0-33a3-47dd-bfb7-87fb96739115">
      <Terms xmlns="http://schemas.microsoft.com/office/infopath/2007/PartnerControls"/>
    </lcf76f155ced4ddcb4097134ff3c332f>
    <test xmlns="07c5dfa0-33a3-47dd-bfb7-87fb96739115" xsi:nil="true"/>
    <Time xmlns="07c5dfa0-33a3-47dd-bfb7-87fb96739115" xsi:nil="true"/>
    <Status xmlns="07c5dfa0-33a3-47dd-bfb7-87fb96739115" xsi:nil="true"/>
    <Date xmlns="07c5dfa0-33a3-47dd-bfb7-87fb9673911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552522C-5F65-440E-AA4D-509D313DDD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7c5dfa0-33a3-47dd-bfb7-87fb96739115"/>
    <ds:schemaRef ds:uri="b1c3d6fc-5689-40cc-899d-3b916b4ff5bf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AA2F610-1193-44B2-A4F0-A119C8973799}">
  <ds:schemaRefs>
    <ds:schemaRef ds:uri="http://schemas.microsoft.com/office/2006/metadata/properties"/>
    <ds:schemaRef ds:uri="http://purl.org/dc/terms/"/>
    <ds:schemaRef ds:uri="http://purl.org/dc/elements/1.1/"/>
    <ds:schemaRef ds:uri="http://schemas.microsoft.com/office/2006/documentManagement/types"/>
    <ds:schemaRef ds:uri="b1c3d6fc-5689-40cc-899d-3b916b4ff5bf"/>
    <ds:schemaRef ds:uri="230e9df3-be65-4c73-a93b-d1236ebd677e"/>
    <ds:schemaRef ds:uri="http://schemas.microsoft.com/sharepoint/v3"/>
    <ds:schemaRef ds:uri="http://www.w3.org/XML/1998/namespace"/>
    <ds:schemaRef ds:uri="http://purl.org/dc/dcmitype/"/>
    <ds:schemaRef ds:uri="07c5dfa0-33a3-47dd-bfb7-87fb96739115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9D5624A2-8889-4574-B194-C786A1454E54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87867195-f2b8-4ac2-b0b6-6bb73cb33af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45</TotalTime>
  <Words>647</Words>
  <Application>Microsoft Macintosh PowerPoint</Application>
  <PresentationFormat>Widescreen</PresentationFormat>
  <Paragraphs>105</Paragraphs>
  <Slides>8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2</vt:i4>
      </vt:variant>
    </vt:vector>
  </HeadingPairs>
  <TitlesOfParts>
    <vt:vector size="89" baseType="lpstr">
      <vt:lpstr>Aptos</vt:lpstr>
      <vt:lpstr>Arial</vt:lpstr>
      <vt:lpstr>Segoe Sans Display</vt:lpstr>
      <vt:lpstr>Segoe Sans Small Semilight</vt:lpstr>
      <vt:lpstr>Segoe UI</vt:lpstr>
      <vt:lpstr>Title Slides</vt:lpstr>
      <vt:lpstr>think-cell Slide</vt:lpstr>
      <vt:lpstr>Governance and Compliance with Microsoft Purview  A getting started guide – Unified catalo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rview-overview</dc:title>
  <dc:creator>Cillian Mitchell</dc:creator>
  <cp:lastModifiedBy>Jan Cordtz</cp:lastModifiedBy>
  <cp:revision>10</cp:revision>
  <cp:lastPrinted>2025-06-18T05:57:52Z</cp:lastPrinted>
  <dcterms:created xsi:type="dcterms:W3CDTF">2024-01-23T16:36:38Z</dcterms:created>
  <dcterms:modified xsi:type="dcterms:W3CDTF">2026-01-13T10:0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6D235E0236944CB2D0154C00AD9253</vt:lpwstr>
  </property>
  <property fmtid="{D5CDD505-2E9C-101B-9397-08002B2CF9AE}" pid="3" name="MediaServiceImageTags">
    <vt:lpwstr/>
  </property>
  <property fmtid="{D5CDD505-2E9C-101B-9397-08002B2CF9AE}" pid="4" name="_dlc_policyId">
    <vt:lpwstr>0x01010070AB3889E58DB141A6E1281B02136174|-369733750</vt:lpwstr>
  </property>
  <property fmtid="{D5CDD505-2E9C-101B-9397-08002B2CF9AE}" pid="5" name="ItemRetentionFormula">
    <vt:lpwstr>&lt;formula id="Microsoft.Office.RecordsManagement.PolicyFeatures.Expiration.Formula.BuiltIn"&gt;&lt;number&gt;30&lt;/number&gt;&lt;property&gt;Modified&lt;/property&gt;&lt;propertyId&gt;28cf69c5-fa48-462a-b5cd-27b6f9d2bd5f&lt;/propertyId&gt;&lt;period&gt;days&lt;/period&gt;&lt;/formula&gt;</vt:lpwstr>
  </property>
</Properties>
</file>